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11"/>
  </p:notesMasterIdLst>
  <p:handoutMasterIdLst>
    <p:handoutMasterId r:id="rId12"/>
  </p:handoutMasterIdLst>
  <p:sldIdLst>
    <p:sldId id="275" r:id="rId5"/>
    <p:sldId id="277" r:id="rId6"/>
    <p:sldId id="362" r:id="rId7"/>
    <p:sldId id="363" r:id="rId8"/>
    <p:sldId id="285" r:id="rId9"/>
    <p:sldId id="327" r:id="rId10"/>
  </p:sldIdLst>
  <p:sldSz cx="12192000" cy="6858000"/>
  <p:notesSz cx="6797675" cy="9928225"/>
  <p:custDataLst>
    <p:tags r:id="rId13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C2D961B-53EA-8AA1-F6EC-4DA8C514AC01}" v="50" dt="2022-01-07T12:25:46.451"/>
    <p1510:client id="{61AE7B1E-1865-CB8C-4672-B3C992C24FA9}" v="479" dt="2022-01-07T13:52:55.727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290" autoAdjust="0"/>
    <p:restoredTop sz="94614" autoAdjust="0"/>
  </p:normalViewPr>
  <p:slideViewPr>
    <p:cSldViewPr showGuides="1">
      <p:cViewPr varScale="1">
        <p:scale>
          <a:sx n="114" d="100"/>
          <a:sy n="114" d="100"/>
        </p:scale>
        <p:origin x="744" y="192"/>
      </p:cViewPr>
      <p:guideLst/>
    </p:cSldViewPr>
  </p:slideViewPr>
  <p:outlineViewPr>
    <p:cViewPr>
      <p:scale>
        <a:sx n="33" d="100"/>
        <a:sy n="33" d="100"/>
      </p:scale>
      <p:origin x="0" y="-144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2668"/>
    </p:cViewPr>
  </p:sorterViewPr>
  <p:notesViewPr>
    <p:cSldViewPr showGuides="1">
      <p:cViewPr varScale="1">
        <p:scale>
          <a:sx n="84" d="100"/>
          <a:sy n="84" d="100"/>
        </p:scale>
        <p:origin x="2856" y="102"/>
      </p:cViewPr>
      <p:guideLst/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ags" Target="tags/tag1.xml"/><Relationship Id="rId18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olk, Moiken" userId="S::moiken.wolk@dfb.de::4f31ae1a-efc9-4f05-80e5-ec9d58258cc3" providerId="AD" clId="Web-{2B080CF8-BFB4-4B8E-A8AC-A269D9ED7035}"/>
    <pc:docChg chg="addSld modSld">
      <pc:chgData name="Wolk, Moiken" userId="S::moiken.wolk@dfb.de::4f31ae1a-efc9-4f05-80e5-ec9d58258cc3" providerId="AD" clId="Web-{2B080CF8-BFB4-4B8E-A8AC-A269D9ED7035}" dt="2020-09-21T06:39:28.893" v="1129"/>
      <pc:docMkLst>
        <pc:docMk/>
      </pc:docMkLst>
      <pc:sldChg chg="delSp modSp">
        <pc:chgData name="Wolk, Moiken" userId="S::moiken.wolk@dfb.de::4f31ae1a-efc9-4f05-80e5-ec9d58258cc3" providerId="AD" clId="Web-{2B080CF8-BFB4-4B8E-A8AC-A269D9ED7035}" dt="2020-09-21T06:39:18.518" v="1128" actId="20577"/>
        <pc:sldMkLst>
          <pc:docMk/>
          <pc:sldMk cId="3049738457" sldId="288"/>
        </pc:sldMkLst>
        <pc:spChg chg="mod">
          <ac:chgData name="Wolk, Moiken" userId="S::moiken.wolk@dfb.de::4f31ae1a-efc9-4f05-80e5-ec9d58258cc3" providerId="AD" clId="Web-{2B080CF8-BFB4-4B8E-A8AC-A269D9ED7035}" dt="2020-09-21T06:22:48.810" v="194" actId="20577"/>
          <ac:spMkLst>
            <pc:docMk/>
            <pc:sldMk cId="3049738457" sldId="288"/>
            <ac:spMk id="2" creationId="{00000000-0000-0000-0000-000000000000}"/>
          </ac:spMkLst>
        </pc:spChg>
        <pc:spChg chg="mod">
          <ac:chgData name="Wolk, Moiken" userId="S::moiken.wolk@dfb.de::4f31ae1a-efc9-4f05-80e5-ec9d58258cc3" providerId="AD" clId="Web-{2B080CF8-BFB4-4B8E-A8AC-A269D9ED7035}" dt="2020-09-21T06:21:25.757" v="72" actId="20577"/>
          <ac:spMkLst>
            <pc:docMk/>
            <pc:sldMk cId="3049738457" sldId="288"/>
            <ac:spMk id="6" creationId="{00000000-0000-0000-0000-000000000000}"/>
          </ac:spMkLst>
        </pc:spChg>
        <pc:spChg chg="mod">
          <ac:chgData name="Wolk, Moiken" userId="S::moiken.wolk@dfb.de::4f31ae1a-efc9-4f05-80e5-ec9d58258cc3" providerId="AD" clId="Web-{2B080CF8-BFB4-4B8E-A8AC-A269D9ED7035}" dt="2020-09-21T06:37:46.074" v="1090" actId="20577"/>
          <ac:spMkLst>
            <pc:docMk/>
            <pc:sldMk cId="3049738457" sldId="288"/>
            <ac:spMk id="9" creationId="{00000000-0000-0000-0000-000000000000}"/>
          </ac:spMkLst>
        </pc:spChg>
        <pc:spChg chg="mod">
          <ac:chgData name="Wolk, Moiken" userId="S::moiken.wolk@dfb.de::4f31ae1a-efc9-4f05-80e5-ec9d58258cc3" providerId="AD" clId="Web-{2B080CF8-BFB4-4B8E-A8AC-A269D9ED7035}" dt="2020-09-21T06:39:18.518" v="1128" actId="20577"/>
          <ac:spMkLst>
            <pc:docMk/>
            <pc:sldMk cId="3049738457" sldId="288"/>
            <ac:spMk id="11" creationId="{00000000-0000-0000-0000-000000000000}"/>
          </ac:spMkLst>
        </pc:spChg>
        <pc:spChg chg="mod">
          <ac:chgData name="Wolk, Moiken" userId="S::moiken.wolk@dfb.de::4f31ae1a-efc9-4f05-80e5-ec9d58258cc3" providerId="AD" clId="Web-{2B080CF8-BFB4-4B8E-A8AC-A269D9ED7035}" dt="2020-09-21T06:23:28.938" v="230" actId="20577"/>
          <ac:spMkLst>
            <pc:docMk/>
            <pc:sldMk cId="3049738457" sldId="288"/>
            <ac:spMk id="12" creationId="{00000000-0000-0000-0000-000000000000}"/>
          </ac:spMkLst>
        </pc:spChg>
        <pc:spChg chg="del mod">
          <ac:chgData name="Wolk, Moiken" userId="S::moiken.wolk@dfb.de::4f31ae1a-efc9-4f05-80e5-ec9d58258cc3" providerId="AD" clId="Web-{2B080CF8-BFB4-4B8E-A8AC-A269D9ED7035}" dt="2020-09-21T06:38:10.482" v="1092"/>
          <ac:spMkLst>
            <pc:docMk/>
            <pc:sldMk cId="3049738457" sldId="288"/>
            <ac:spMk id="13" creationId="{00000000-0000-0000-0000-000000000000}"/>
          </ac:spMkLst>
        </pc:spChg>
        <pc:spChg chg="del mod">
          <ac:chgData name="Wolk, Moiken" userId="S::moiken.wolk@dfb.de::4f31ae1a-efc9-4f05-80e5-ec9d58258cc3" providerId="AD" clId="Web-{2B080CF8-BFB4-4B8E-A8AC-A269D9ED7035}" dt="2020-09-21T06:38:18.795" v="1094"/>
          <ac:spMkLst>
            <pc:docMk/>
            <pc:sldMk cId="3049738457" sldId="288"/>
            <ac:spMk id="14" creationId="{00000000-0000-0000-0000-000000000000}"/>
          </ac:spMkLst>
        </pc:spChg>
        <pc:spChg chg="mod">
          <ac:chgData name="Wolk, Moiken" userId="S::moiken.wolk@dfb.de::4f31ae1a-efc9-4f05-80e5-ec9d58258cc3" providerId="AD" clId="Web-{2B080CF8-BFB4-4B8E-A8AC-A269D9ED7035}" dt="2020-09-21T06:21:04.600" v="47" actId="20577"/>
          <ac:spMkLst>
            <pc:docMk/>
            <pc:sldMk cId="3049738457" sldId="288"/>
            <ac:spMk id="43" creationId="{00000000-0000-0000-0000-000000000000}"/>
          </ac:spMkLst>
        </pc:spChg>
      </pc:sldChg>
      <pc:sldChg chg="add replId">
        <pc:chgData name="Wolk, Moiken" userId="S::moiken.wolk@dfb.de::4f31ae1a-efc9-4f05-80e5-ec9d58258cc3" providerId="AD" clId="Web-{2B080CF8-BFB4-4B8E-A8AC-A269D9ED7035}" dt="2020-09-21T06:39:28.893" v="1129"/>
        <pc:sldMkLst>
          <pc:docMk/>
          <pc:sldMk cId="718620115" sldId="361"/>
        </pc:sldMkLst>
      </pc:sldChg>
    </pc:docChg>
  </pc:docChgLst>
  <pc:docChgLst>
    <pc:chgData name="Andreas Schröter" userId="S::andreas.schroeter@hfv-online.de::cd3701b5-2d10-46a4-9536-f48ca4e77ac1" providerId="AD" clId="Web-{61AE7B1E-1865-CB8C-4672-B3C992C24FA9}"/>
    <pc:docChg chg="addSld delSld modSld">
      <pc:chgData name="Andreas Schröter" userId="S::andreas.schroeter@hfv-online.de::cd3701b5-2d10-46a4-9536-f48ca4e77ac1" providerId="AD" clId="Web-{61AE7B1E-1865-CB8C-4672-B3C992C24FA9}" dt="2022-01-07T13:52:55.727" v="266"/>
      <pc:docMkLst>
        <pc:docMk/>
      </pc:docMkLst>
      <pc:sldChg chg="delSp modSp">
        <pc:chgData name="Andreas Schröter" userId="S::andreas.schroeter@hfv-online.de::cd3701b5-2d10-46a4-9536-f48ca4e77ac1" providerId="AD" clId="Web-{61AE7B1E-1865-CB8C-4672-B3C992C24FA9}" dt="2022-01-07T13:31:27.906" v="20"/>
        <pc:sldMkLst>
          <pc:docMk/>
          <pc:sldMk cId="1254673291" sldId="275"/>
        </pc:sldMkLst>
        <pc:spChg chg="mod">
          <ac:chgData name="Andreas Schröter" userId="S::andreas.schroeter@hfv-online.de::cd3701b5-2d10-46a4-9536-f48ca4e77ac1" providerId="AD" clId="Web-{61AE7B1E-1865-CB8C-4672-B3C992C24FA9}" dt="2022-01-07T13:30:59.765" v="2" actId="20577"/>
          <ac:spMkLst>
            <pc:docMk/>
            <pc:sldMk cId="1254673291" sldId="275"/>
            <ac:spMk id="6" creationId="{00000000-0000-0000-0000-000000000000}"/>
          </ac:spMkLst>
        </pc:spChg>
        <pc:spChg chg="mod">
          <ac:chgData name="Andreas Schröter" userId="S::andreas.schroeter@hfv-online.de::cd3701b5-2d10-46a4-9536-f48ca4e77ac1" providerId="AD" clId="Web-{61AE7B1E-1865-CB8C-4672-B3C992C24FA9}" dt="2022-01-07T13:31:08.984" v="12" actId="20577"/>
          <ac:spMkLst>
            <pc:docMk/>
            <pc:sldMk cId="1254673291" sldId="275"/>
            <ac:spMk id="7" creationId="{00000000-0000-0000-0000-000000000000}"/>
          </ac:spMkLst>
        </pc:spChg>
        <pc:spChg chg="mod">
          <ac:chgData name="Andreas Schröter" userId="S::andreas.schroeter@hfv-online.de::cd3701b5-2d10-46a4-9536-f48ca4e77ac1" providerId="AD" clId="Web-{61AE7B1E-1865-CB8C-4672-B3C992C24FA9}" dt="2022-01-07T13:31:24.390" v="19" actId="20577"/>
          <ac:spMkLst>
            <pc:docMk/>
            <pc:sldMk cId="1254673291" sldId="275"/>
            <ac:spMk id="8" creationId="{00000000-0000-0000-0000-000000000000}"/>
          </ac:spMkLst>
        </pc:spChg>
        <pc:spChg chg="del">
          <ac:chgData name="Andreas Schröter" userId="S::andreas.schroeter@hfv-online.de::cd3701b5-2d10-46a4-9536-f48ca4e77ac1" providerId="AD" clId="Web-{61AE7B1E-1865-CB8C-4672-B3C992C24FA9}" dt="2022-01-07T13:31:27.906" v="20"/>
          <ac:spMkLst>
            <pc:docMk/>
            <pc:sldMk cId="1254673291" sldId="275"/>
            <ac:spMk id="9" creationId="{00000000-0000-0000-0000-000000000000}"/>
          </ac:spMkLst>
        </pc:spChg>
      </pc:sldChg>
      <pc:sldChg chg="del">
        <pc:chgData name="Andreas Schröter" userId="S::andreas.schroeter@hfv-online.de::cd3701b5-2d10-46a4-9536-f48ca4e77ac1" providerId="AD" clId="Web-{61AE7B1E-1865-CB8C-4672-B3C992C24FA9}" dt="2022-01-07T13:31:33.484" v="21"/>
        <pc:sldMkLst>
          <pc:docMk/>
          <pc:sldMk cId="763554063" sldId="276"/>
        </pc:sldMkLst>
      </pc:sldChg>
      <pc:sldChg chg="modSp">
        <pc:chgData name="Andreas Schröter" userId="S::andreas.schroeter@hfv-online.de::cd3701b5-2d10-46a4-9536-f48ca4e77ac1" providerId="AD" clId="Web-{61AE7B1E-1865-CB8C-4672-B3C992C24FA9}" dt="2022-01-07T13:31:54.969" v="39" actId="20577"/>
        <pc:sldMkLst>
          <pc:docMk/>
          <pc:sldMk cId="2660106296" sldId="277"/>
        </pc:sldMkLst>
        <pc:spChg chg="mod">
          <ac:chgData name="Andreas Schröter" userId="S::andreas.schroeter@hfv-online.de::cd3701b5-2d10-46a4-9536-f48ca4e77ac1" providerId="AD" clId="Web-{61AE7B1E-1865-CB8C-4672-B3C992C24FA9}" dt="2022-01-07T13:31:54.969" v="39" actId="20577"/>
          <ac:spMkLst>
            <pc:docMk/>
            <pc:sldMk cId="2660106296" sldId="277"/>
            <ac:spMk id="5" creationId="{00000000-0000-0000-0000-000000000000}"/>
          </ac:spMkLst>
        </pc:spChg>
      </pc:sldChg>
      <pc:sldChg chg="delSp modSp">
        <pc:chgData name="Andreas Schröter" userId="S::andreas.schroeter@hfv-online.de::cd3701b5-2d10-46a4-9536-f48ca4e77ac1" providerId="AD" clId="Web-{61AE7B1E-1865-CB8C-4672-B3C992C24FA9}" dt="2022-01-07T13:49:40.696" v="143" actId="20577"/>
        <pc:sldMkLst>
          <pc:docMk/>
          <pc:sldMk cId="1167228532" sldId="278"/>
        </pc:sldMkLst>
        <pc:spChg chg="mod">
          <ac:chgData name="Andreas Schröter" userId="S::andreas.schroeter@hfv-online.de::cd3701b5-2d10-46a4-9536-f48ca4e77ac1" providerId="AD" clId="Web-{61AE7B1E-1865-CB8C-4672-B3C992C24FA9}" dt="2022-01-07T13:47:44.108" v="70" actId="20577"/>
          <ac:spMkLst>
            <pc:docMk/>
            <pc:sldMk cId="1167228532" sldId="278"/>
            <ac:spMk id="8" creationId="{00000000-0000-0000-0000-000000000000}"/>
          </ac:spMkLst>
        </pc:spChg>
        <pc:spChg chg="mod">
          <ac:chgData name="Andreas Schröter" userId="S::andreas.schroeter@hfv-online.de::cd3701b5-2d10-46a4-9536-f48ca4e77ac1" providerId="AD" clId="Web-{61AE7B1E-1865-CB8C-4672-B3C992C24FA9}" dt="2022-01-07T13:49:40.696" v="143" actId="20577"/>
          <ac:spMkLst>
            <pc:docMk/>
            <pc:sldMk cId="1167228532" sldId="278"/>
            <ac:spMk id="9" creationId="{00000000-0000-0000-0000-000000000000}"/>
          </ac:spMkLst>
        </pc:spChg>
        <pc:spChg chg="mod">
          <ac:chgData name="Andreas Schröter" userId="S::andreas.schroeter@hfv-online.de::cd3701b5-2d10-46a4-9536-f48ca4e77ac1" providerId="AD" clId="Web-{61AE7B1E-1865-CB8C-4672-B3C992C24FA9}" dt="2022-01-07T13:48:06.641" v="86" actId="20577"/>
          <ac:spMkLst>
            <pc:docMk/>
            <pc:sldMk cId="1167228532" sldId="278"/>
            <ac:spMk id="26" creationId="{00000000-0000-0000-0000-000000000000}"/>
          </ac:spMkLst>
        </pc:spChg>
        <pc:grpChg chg="del">
          <ac:chgData name="Andreas Schröter" userId="S::andreas.schroeter@hfv-online.de::cd3701b5-2d10-46a4-9536-f48ca4e77ac1" providerId="AD" clId="Web-{61AE7B1E-1865-CB8C-4672-B3C992C24FA9}" dt="2022-01-07T13:48:09.110" v="87"/>
          <ac:grpSpMkLst>
            <pc:docMk/>
            <pc:sldMk cId="1167228532" sldId="278"/>
            <ac:grpSpMk id="54" creationId="{00000000-0000-0000-0000-000000000000}"/>
          </ac:grpSpMkLst>
        </pc:grpChg>
        <pc:grpChg chg="del">
          <ac:chgData name="Andreas Schröter" userId="S::andreas.schroeter@hfv-online.de::cd3701b5-2d10-46a4-9536-f48ca4e77ac1" providerId="AD" clId="Web-{61AE7B1E-1865-CB8C-4672-B3C992C24FA9}" dt="2022-01-07T13:48:11.532" v="88"/>
          <ac:grpSpMkLst>
            <pc:docMk/>
            <pc:sldMk cId="1167228532" sldId="278"/>
            <ac:grpSpMk id="66" creationId="{00000000-0000-0000-0000-000000000000}"/>
          </ac:grpSpMkLst>
        </pc:grpChg>
        <pc:cxnChg chg="mod">
          <ac:chgData name="Andreas Schröter" userId="S::andreas.schroeter@hfv-online.de::cd3701b5-2d10-46a4-9536-f48ca4e77ac1" providerId="AD" clId="Web-{61AE7B1E-1865-CB8C-4672-B3C992C24FA9}" dt="2022-01-07T13:48:09.110" v="87"/>
          <ac:cxnSpMkLst>
            <pc:docMk/>
            <pc:sldMk cId="1167228532" sldId="278"/>
            <ac:cxnSpMk id="34" creationId="{00000000-0000-0000-0000-000000000000}"/>
          </ac:cxnSpMkLst>
        </pc:cxnChg>
        <pc:cxnChg chg="mod">
          <ac:chgData name="Andreas Schröter" userId="S::andreas.schroeter@hfv-online.de::cd3701b5-2d10-46a4-9536-f48ca4e77ac1" providerId="AD" clId="Web-{61AE7B1E-1865-CB8C-4672-B3C992C24FA9}" dt="2022-01-07T13:48:09.110" v="87"/>
          <ac:cxnSpMkLst>
            <pc:docMk/>
            <pc:sldMk cId="1167228532" sldId="278"/>
            <ac:cxnSpMk id="35" creationId="{00000000-0000-0000-0000-000000000000}"/>
          </ac:cxnSpMkLst>
        </pc:cxnChg>
        <pc:cxnChg chg="mod">
          <ac:chgData name="Andreas Schröter" userId="S::andreas.schroeter@hfv-online.de::cd3701b5-2d10-46a4-9536-f48ca4e77ac1" providerId="AD" clId="Web-{61AE7B1E-1865-CB8C-4672-B3C992C24FA9}" dt="2022-01-07T13:48:09.110" v="87"/>
          <ac:cxnSpMkLst>
            <pc:docMk/>
            <pc:sldMk cId="1167228532" sldId="278"/>
            <ac:cxnSpMk id="38" creationId="{00000000-0000-0000-0000-000000000000}"/>
          </ac:cxnSpMkLst>
        </pc:cxnChg>
        <pc:cxnChg chg="mod">
          <ac:chgData name="Andreas Schröter" userId="S::andreas.schroeter@hfv-online.de::cd3701b5-2d10-46a4-9536-f48ca4e77ac1" providerId="AD" clId="Web-{61AE7B1E-1865-CB8C-4672-B3C992C24FA9}" dt="2022-01-07T13:48:09.110" v="87"/>
          <ac:cxnSpMkLst>
            <pc:docMk/>
            <pc:sldMk cId="1167228532" sldId="278"/>
            <ac:cxnSpMk id="41" creationId="{00000000-0000-0000-0000-000000000000}"/>
          </ac:cxnSpMkLst>
        </pc:cxnChg>
        <pc:cxnChg chg="mod">
          <ac:chgData name="Andreas Schröter" userId="S::andreas.schroeter@hfv-online.de::cd3701b5-2d10-46a4-9536-f48ca4e77ac1" providerId="AD" clId="Web-{61AE7B1E-1865-CB8C-4672-B3C992C24FA9}" dt="2022-01-07T13:48:09.110" v="87"/>
          <ac:cxnSpMkLst>
            <pc:docMk/>
            <pc:sldMk cId="1167228532" sldId="278"/>
            <ac:cxnSpMk id="56" creationId="{00000000-0000-0000-0000-000000000000}"/>
          </ac:cxnSpMkLst>
        </pc:cxnChg>
        <pc:cxnChg chg="mod">
          <ac:chgData name="Andreas Schröter" userId="S::andreas.schroeter@hfv-online.de::cd3701b5-2d10-46a4-9536-f48ca4e77ac1" providerId="AD" clId="Web-{61AE7B1E-1865-CB8C-4672-B3C992C24FA9}" dt="2022-01-07T13:48:09.110" v="87"/>
          <ac:cxnSpMkLst>
            <pc:docMk/>
            <pc:sldMk cId="1167228532" sldId="278"/>
            <ac:cxnSpMk id="59" creationId="{00000000-0000-0000-0000-000000000000}"/>
          </ac:cxnSpMkLst>
        </pc:cxnChg>
      </pc:sldChg>
      <pc:sldChg chg="del">
        <pc:chgData name="Andreas Schröter" userId="S::andreas.schroeter@hfv-online.de::cd3701b5-2d10-46a4-9536-f48ca4e77ac1" providerId="AD" clId="Web-{61AE7B1E-1865-CB8C-4672-B3C992C24FA9}" dt="2022-01-07T13:51:37.752" v="202"/>
        <pc:sldMkLst>
          <pc:docMk/>
          <pc:sldMk cId="931533850" sldId="281"/>
        </pc:sldMkLst>
      </pc:sldChg>
      <pc:sldChg chg="del">
        <pc:chgData name="Andreas Schröter" userId="S::andreas.schroeter@hfv-online.de::cd3701b5-2d10-46a4-9536-f48ca4e77ac1" providerId="AD" clId="Web-{61AE7B1E-1865-CB8C-4672-B3C992C24FA9}" dt="2022-01-07T13:51:39.252" v="203"/>
        <pc:sldMkLst>
          <pc:docMk/>
          <pc:sldMk cId="1627252434" sldId="282"/>
        </pc:sldMkLst>
      </pc:sldChg>
      <pc:sldChg chg="del">
        <pc:chgData name="Andreas Schröter" userId="S::andreas.schroeter@hfv-online.de::cd3701b5-2d10-46a4-9536-f48ca4e77ac1" providerId="AD" clId="Web-{61AE7B1E-1865-CB8C-4672-B3C992C24FA9}" dt="2022-01-07T13:51:40.362" v="204"/>
        <pc:sldMkLst>
          <pc:docMk/>
          <pc:sldMk cId="194892878" sldId="283"/>
        </pc:sldMkLst>
      </pc:sldChg>
      <pc:sldChg chg="add del">
        <pc:chgData name="Andreas Schröter" userId="S::andreas.schroeter@hfv-online.de::cd3701b5-2d10-46a4-9536-f48ca4e77ac1" providerId="AD" clId="Web-{61AE7B1E-1865-CB8C-4672-B3C992C24FA9}" dt="2022-01-07T13:51:47.003" v="208"/>
        <pc:sldMkLst>
          <pc:docMk/>
          <pc:sldMk cId="2493086461" sldId="285"/>
        </pc:sldMkLst>
      </pc:sldChg>
      <pc:sldChg chg="del">
        <pc:chgData name="Andreas Schröter" userId="S::andreas.schroeter@hfv-online.de::cd3701b5-2d10-46a4-9536-f48ca4e77ac1" providerId="AD" clId="Web-{61AE7B1E-1865-CB8C-4672-B3C992C24FA9}" dt="2022-01-07T13:51:50.128" v="209"/>
        <pc:sldMkLst>
          <pc:docMk/>
          <pc:sldMk cId="3049738457" sldId="288"/>
        </pc:sldMkLst>
      </pc:sldChg>
      <pc:sldChg chg="del">
        <pc:chgData name="Andreas Schröter" userId="S::andreas.schroeter@hfv-online.de::cd3701b5-2d10-46a4-9536-f48ca4e77ac1" providerId="AD" clId="Web-{61AE7B1E-1865-CB8C-4672-B3C992C24FA9}" dt="2022-01-07T13:51:52.753" v="211"/>
        <pc:sldMkLst>
          <pc:docMk/>
          <pc:sldMk cId="789351483" sldId="289"/>
        </pc:sldMkLst>
      </pc:sldChg>
      <pc:sldChg chg="del">
        <pc:chgData name="Andreas Schröter" userId="S::andreas.schroeter@hfv-online.de::cd3701b5-2d10-46a4-9536-f48ca4e77ac1" providerId="AD" clId="Web-{61AE7B1E-1865-CB8C-4672-B3C992C24FA9}" dt="2022-01-07T13:51:53.831" v="212"/>
        <pc:sldMkLst>
          <pc:docMk/>
          <pc:sldMk cId="2986098420" sldId="290"/>
        </pc:sldMkLst>
      </pc:sldChg>
      <pc:sldChg chg="del">
        <pc:chgData name="Andreas Schröter" userId="S::andreas.schroeter@hfv-online.de::cd3701b5-2d10-46a4-9536-f48ca4e77ac1" providerId="AD" clId="Web-{61AE7B1E-1865-CB8C-4672-B3C992C24FA9}" dt="2022-01-07T13:51:55.347" v="213"/>
        <pc:sldMkLst>
          <pc:docMk/>
          <pc:sldMk cId="3337949010" sldId="291"/>
        </pc:sldMkLst>
      </pc:sldChg>
      <pc:sldChg chg="del">
        <pc:chgData name="Andreas Schröter" userId="S::andreas.schroeter@hfv-online.de::cd3701b5-2d10-46a4-9536-f48ca4e77ac1" providerId="AD" clId="Web-{61AE7B1E-1865-CB8C-4672-B3C992C24FA9}" dt="2022-01-07T13:52:03.160" v="220"/>
        <pc:sldMkLst>
          <pc:docMk/>
          <pc:sldMk cId="2641853286" sldId="293"/>
        </pc:sldMkLst>
      </pc:sldChg>
      <pc:sldChg chg="del">
        <pc:chgData name="Andreas Schröter" userId="S::andreas.schroeter@hfv-online.de::cd3701b5-2d10-46a4-9536-f48ca4e77ac1" providerId="AD" clId="Web-{61AE7B1E-1865-CB8C-4672-B3C992C24FA9}" dt="2022-01-07T13:52:04.254" v="221"/>
        <pc:sldMkLst>
          <pc:docMk/>
          <pc:sldMk cId="2843082084" sldId="294"/>
        </pc:sldMkLst>
      </pc:sldChg>
      <pc:sldChg chg="del">
        <pc:chgData name="Andreas Schröter" userId="S::andreas.schroeter@hfv-online.de::cd3701b5-2d10-46a4-9536-f48ca4e77ac1" providerId="AD" clId="Web-{61AE7B1E-1865-CB8C-4672-B3C992C24FA9}" dt="2022-01-07T13:52:05.364" v="222"/>
        <pc:sldMkLst>
          <pc:docMk/>
          <pc:sldMk cId="3560852661" sldId="295"/>
        </pc:sldMkLst>
      </pc:sldChg>
      <pc:sldChg chg="del">
        <pc:chgData name="Andreas Schröter" userId="S::andreas.schroeter@hfv-online.de::cd3701b5-2d10-46a4-9536-f48ca4e77ac1" providerId="AD" clId="Web-{61AE7B1E-1865-CB8C-4672-B3C992C24FA9}" dt="2022-01-07T13:52:05.692" v="223"/>
        <pc:sldMkLst>
          <pc:docMk/>
          <pc:sldMk cId="2314233597" sldId="296"/>
        </pc:sldMkLst>
      </pc:sldChg>
      <pc:sldChg chg="del">
        <pc:chgData name="Andreas Schröter" userId="S::andreas.schroeter@hfv-online.de::cd3701b5-2d10-46a4-9536-f48ca4e77ac1" providerId="AD" clId="Web-{61AE7B1E-1865-CB8C-4672-B3C992C24FA9}" dt="2022-01-07T13:52:10.083" v="224"/>
        <pc:sldMkLst>
          <pc:docMk/>
          <pc:sldMk cId="511520760" sldId="297"/>
        </pc:sldMkLst>
      </pc:sldChg>
      <pc:sldChg chg="del">
        <pc:chgData name="Andreas Schröter" userId="S::andreas.schroeter@hfv-online.de::cd3701b5-2d10-46a4-9536-f48ca4e77ac1" providerId="AD" clId="Web-{61AE7B1E-1865-CB8C-4672-B3C992C24FA9}" dt="2022-01-07T13:52:11.942" v="225"/>
        <pc:sldMkLst>
          <pc:docMk/>
          <pc:sldMk cId="863826403" sldId="298"/>
        </pc:sldMkLst>
      </pc:sldChg>
      <pc:sldChg chg="del">
        <pc:chgData name="Andreas Schröter" userId="S::andreas.schroeter@hfv-online.de::cd3701b5-2d10-46a4-9536-f48ca4e77ac1" providerId="AD" clId="Web-{61AE7B1E-1865-CB8C-4672-B3C992C24FA9}" dt="2022-01-07T13:52:13.067" v="226"/>
        <pc:sldMkLst>
          <pc:docMk/>
          <pc:sldMk cId="4104495176" sldId="299"/>
        </pc:sldMkLst>
      </pc:sldChg>
      <pc:sldChg chg="del">
        <pc:chgData name="Andreas Schröter" userId="S::andreas.schroeter@hfv-online.de::cd3701b5-2d10-46a4-9536-f48ca4e77ac1" providerId="AD" clId="Web-{61AE7B1E-1865-CB8C-4672-B3C992C24FA9}" dt="2022-01-07T13:52:14.192" v="227"/>
        <pc:sldMkLst>
          <pc:docMk/>
          <pc:sldMk cId="1594982969" sldId="300"/>
        </pc:sldMkLst>
      </pc:sldChg>
      <pc:sldChg chg="del">
        <pc:chgData name="Andreas Schröter" userId="S::andreas.schroeter@hfv-online.de::cd3701b5-2d10-46a4-9536-f48ca4e77ac1" providerId="AD" clId="Web-{61AE7B1E-1865-CB8C-4672-B3C992C24FA9}" dt="2022-01-07T13:52:15.099" v="228"/>
        <pc:sldMkLst>
          <pc:docMk/>
          <pc:sldMk cId="142468045" sldId="301"/>
        </pc:sldMkLst>
      </pc:sldChg>
      <pc:sldChg chg="del">
        <pc:chgData name="Andreas Schröter" userId="S::andreas.schroeter@hfv-online.de::cd3701b5-2d10-46a4-9536-f48ca4e77ac1" providerId="AD" clId="Web-{61AE7B1E-1865-CB8C-4672-B3C992C24FA9}" dt="2022-01-07T13:52:26.225" v="231"/>
        <pc:sldMkLst>
          <pc:docMk/>
          <pc:sldMk cId="2240740752" sldId="303"/>
        </pc:sldMkLst>
      </pc:sldChg>
      <pc:sldChg chg="del">
        <pc:chgData name="Andreas Schröter" userId="S::andreas.schroeter@hfv-online.de::cd3701b5-2d10-46a4-9536-f48ca4e77ac1" providerId="AD" clId="Web-{61AE7B1E-1865-CB8C-4672-B3C992C24FA9}" dt="2022-01-07T13:52:27.772" v="232"/>
        <pc:sldMkLst>
          <pc:docMk/>
          <pc:sldMk cId="749166290" sldId="304"/>
        </pc:sldMkLst>
      </pc:sldChg>
      <pc:sldChg chg="del">
        <pc:chgData name="Andreas Schröter" userId="S::andreas.schroeter@hfv-online.de::cd3701b5-2d10-46a4-9536-f48ca4e77ac1" providerId="AD" clId="Web-{61AE7B1E-1865-CB8C-4672-B3C992C24FA9}" dt="2022-01-07T13:52:30.662" v="233"/>
        <pc:sldMkLst>
          <pc:docMk/>
          <pc:sldMk cId="3811150166" sldId="305"/>
        </pc:sldMkLst>
      </pc:sldChg>
      <pc:sldChg chg="del">
        <pc:chgData name="Andreas Schröter" userId="S::andreas.schroeter@hfv-online.de::cd3701b5-2d10-46a4-9536-f48ca4e77ac1" providerId="AD" clId="Web-{61AE7B1E-1865-CB8C-4672-B3C992C24FA9}" dt="2022-01-07T13:52:40.195" v="234"/>
        <pc:sldMkLst>
          <pc:docMk/>
          <pc:sldMk cId="1419302063" sldId="306"/>
        </pc:sldMkLst>
      </pc:sldChg>
      <pc:sldChg chg="del">
        <pc:chgData name="Andreas Schröter" userId="S::andreas.schroeter@hfv-online.de::cd3701b5-2d10-46a4-9536-f48ca4e77ac1" providerId="AD" clId="Web-{61AE7B1E-1865-CB8C-4672-B3C992C24FA9}" dt="2022-01-07T13:52:42.304" v="236"/>
        <pc:sldMkLst>
          <pc:docMk/>
          <pc:sldMk cId="2758507764" sldId="307"/>
        </pc:sldMkLst>
      </pc:sldChg>
      <pc:sldChg chg="del">
        <pc:chgData name="Andreas Schröter" userId="S::andreas.schroeter@hfv-online.de::cd3701b5-2d10-46a4-9536-f48ca4e77ac1" providerId="AD" clId="Web-{61AE7B1E-1865-CB8C-4672-B3C992C24FA9}" dt="2022-01-07T13:52:43.664" v="237"/>
        <pc:sldMkLst>
          <pc:docMk/>
          <pc:sldMk cId="2934079669" sldId="308"/>
        </pc:sldMkLst>
      </pc:sldChg>
      <pc:sldChg chg="del">
        <pc:chgData name="Andreas Schröter" userId="S::andreas.schroeter@hfv-online.de::cd3701b5-2d10-46a4-9536-f48ca4e77ac1" providerId="AD" clId="Web-{61AE7B1E-1865-CB8C-4672-B3C992C24FA9}" dt="2022-01-07T13:52:44.585" v="238"/>
        <pc:sldMkLst>
          <pc:docMk/>
          <pc:sldMk cId="3950406612" sldId="309"/>
        </pc:sldMkLst>
      </pc:sldChg>
      <pc:sldChg chg="del">
        <pc:chgData name="Andreas Schröter" userId="S::andreas.schroeter@hfv-online.de::cd3701b5-2d10-46a4-9536-f48ca4e77ac1" providerId="AD" clId="Web-{61AE7B1E-1865-CB8C-4672-B3C992C24FA9}" dt="2022-01-07T13:52:55.727" v="266"/>
        <pc:sldMkLst>
          <pc:docMk/>
          <pc:sldMk cId="2801862318" sldId="310"/>
        </pc:sldMkLst>
      </pc:sldChg>
      <pc:sldChg chg="del">
        <pc:chgData name="Andreas Schröter" userId="S::andreas.schroeter@hfv-online.de::cd3701b5-2d10-46a4-9536-f48ca4e77ac1" providerId="AD" clId="Web-{61AE7B1E-1865-CB8C-4672-B3C992C24FA9}" dt="2022-01-07T13:52:55.727" v="265"/>
        <pc:sldMkLst>
          <pc:docMk/>
          <pc:sldMk cId="1893853910" sldId="311"/>
        </pc:sldMkLst>
      </pc:sldChg>
      <pc:sldChg chg="del">
        <pc:chgData name="Andreas Schröter" userId="S::andreas.schroeter@hfv-online.de::cd3701b5-2d10-46a4-9536-f48ca4e77ac1" providerId="AD" clId="Web-{61AE7B1E-1865-CB8C-4672-B3C992C24FA9}" dt="2022-01-07T13:52:55.727" v="264"/>
        <pc:sldMkLst>
          <pc:docMk/>
          <pc:sldMk cId="376049427" sldId="312"/>
        </pc:sldMkLst>
      </pc:sldChg>
      <pc:sldChg chg="del">
        <pc:chgData name="Andreas Schröter" userId="S::andreas.schroeter@hfv-online.de::cd3701b5-2d10-46a4-9536-f48ca4e77ac1" providerId="AD" clId="Web-{61AE7B1E-1865-CB8C-4672-B3C992C24FA9}" dt="2022-01-07T13:52:55.727" v="263"/>
        <pc:sldMkLst>
          <pc:docMk/>
          <pc:sldMk cId="3362953159" sldId="313"/>
        </pc:sldMkLst>
      </pc:sldChg>
      <pc:sldChg chg="del">
        <pc:chgData name="Andreas Schröter" userId="S::andreas.schroeter@hfv-online.de::cd3701b5-2d10-46a4-9536-f48ca4e77ac1" providerId="AD" clId="Web-{61AE7B1E-1865-CB8C-4672-B3C992C24FA9}" dt="2022-01-07T13:52:55.711" v="262"/>
        <pc:sldMkLst>
          <pc:docMk/>
          <pc:sldMk cId="3111834397" sldId="314"/>
        </pc:sldMkLst>
      </pc:sldChg>
      <pc:sldChg chg="del">
        <pc:chgData name="Andreas Schröter" userId="S::andreas.schroeter@hfv-online.de::cd3701b5-2d10-46a4-9536-f48ca4e77ac1" providerId="AD" clId="Web-{61AE7B1E-1865-CB8C-4672-B3C992C24FA9}" dt="2022-01-07T13:52:55.711" v="261"/>
        <pc:sldMkLst>
          <pc:docMk/>
          <pc:sldMk cId="1640554156" sldId="315"/>
        </pc:sldMkLst>
      </pc:sldChg>
      <pc:sldChg chg="del">
        <pc:chgData name="Andreas Schröter" userId="S::andreas.schroeter@hfv-online.de::cd3701b5-2d10-46a4-9536-f48ca4e77ac1" providerId="AD" clId="Web-{61AE7B1E-1865-CB8C-4672-B3C992C24FA9}" dt="2022-01-07T13:52:55.711" v="260"/>
        <pc:sldMkLst>
          <pc:docMk/>
          <pc:sldMk cId="2473296647" sldId="316"/>
        </pc:sldMkLst>
      </pc:sldChg>
      <pc:sldChg chg="del">
        <pc:chgData name="Andreas Schröter" userId="S::andreas.schroeter@hfv-online.de::cd3701b5-2d10-46a4-9536-f48ca4e77ac1" providerId="AD" clId="Web-{61AE7B1E-1865-CB8C-4672-B3C992C24FA9}" dt="2022-01-07T13:52:55.711" v="259"/>
        <pc:sldMkLst>
          <pc:docMk/>
          <pc:sldMk cId="2905589408" sldId="317"/>
        </pc:sldMkLst>
      </pc:sldChg>
      <pc:sldChg chg="del">
        <pc:chgData name="Andreas Schröter" userId="S::andreas.schroeter@hfv-online.de::cd3701b5-2d10-46a4-9536-f48ca4e77ac1" providerId="AD" clId="Web-{61AE7B1E-1865-CB8C-4672-B3C992C24FA9}" dt="2022-01-07T13:52:55.711" v="258"/>
        <pc:sldMkLst>
          <pc:docMk/>
          <pc:sldMk cId="1808950880" sldId="318"/>
        </pc:sldMkLst>
      </pc:sldChg>
      <pc:sldChg chg="del">
        <pc:chgData name="Andreas Schröter" userId="S::andreas.schroeter@hfv-online.de::cd3701b5-2d10-46a4-9536-f48ca4e77ac1" providerId="AD" clId="Web-{61AE7B1E-1865-CB8C-4672-B3C992C24FA9}" dt="2022-01-07T13:52:55.680" v="254"/>
        <pc:sldMkLst>
          <pc:docMk/>
          <pc:sldMk cId="29979882" sldId="319"/>
        </pc:sldMkLst>
      </pc:sldChg>
      <pc:sldChg chg="del">
        <pc:chgData name="Andreas Schröter" userId="S::andreas.schroeter@hfv-online.de::cd3701b5-2d10-46a4-9536-f48ca4e77ac1" providerId="AD" clId="Web-{61AE7B1E-1865-CB8C-4672-B3C992C24FA9}" dt="2022-01-07T13:52:55.649" v="248"/>
        <pc:sldMkLst>
          <pc:docMk/>
          <pc:sldMk cId="1783838724" sldId="320"/>
        </pc:sldMkLst>
      </pc:sldChg>
      <pc:sldChg chg="del">
        <pc:chgData name="Andreas Schröter" userId="S::andreas.schroeter@hfv-online.de::cd3701b5-2d10-46a4-9536-f48ca4e77ac1" providerId="AD" clId="Web-{61AE7B1E-1865-CB8C-4672-B3C992C24FA9}" dt="2022-01-07T13:52:55.618" v="247"/>
        <pc:sldMkLst>
          <pc:docMk/>
          <pc:sldMk cId="1614467104" sldId="321"/>
        </pc:sldMkLst>
      </pc:sldChg>
      <pc:sldChg chg="del">
        <pc:chgData name="Andreas Schröter" userId="S::andreas.schroeter@hfv-online.de::cd3701b5-2d10-46a4-9536-f48ca4e77ac1" providerId="AD" clId="Web-{61AE7B1E-1865-CB8C-4672-B3C992C24FA9}" dt="2022-01-07T13:52:55.493" v="246"/>
        <pc:sldMkLst>
          <pc:docMk/>
          <pc:sldMk cId="1628626219" sldId="322"/>
        </pc:sldMkLst>
      </pc:sldChg>
      <pc:sldChg chg="del">
        <pc:chgData name="Andreas Schröter" userId="S::andreas.schroeter@hfv-online.de::cd3701b5-2d10-46a4-9536-f48ca4e77ac1" providerId="AD" clId="Web-{61AE7B1E-1865-CB8C-4672-B3C992C24FA9}" dt="2022-01-07T13:52:55.493" v="245"/>
        <pc:sldMkLst>
          <pc:docMk/>
          <pc:sldMk cId="3307053871" sldId="323"/>
        </pc:sldMkLst>
      </pc:sldChg>
      <pc:sldChg chg="del">
        <pc:chgData name="Andreas Schröter" userId="S::andreas.schroeter@hfv-online.de::cd3701b5-2d10-46a4-9536-f48ca4e77ac1" providerId="AD" clId="Web-{61AE7B1E-1865-CB8C-4672-B3C992C24FA9}" dt="2022-01-07T13:52:55.477" v="244"/>
        <pc:sldMkLst>
          <pc:docMk/>
          <pc:sldMk cId="1695551209" sldId="324"/>
        </pc:sldMkLst>
      </pc:sldChg>
      <pc:sldChg chg="del">
        <pc:chgData name="Andreas Schröter" userId="S::andreas.schroeter@hfv-online.de::cd3701b5-2d10-46a4-9536-f48ca4e77ac1" providerId="AD" clId="Web-{61AE7B1E-1865-CB8C-4672-B3C992C24FA9}" dt="2022-01-07T13:52:55.461" v="243"/>
        <pc:sldMkLst>
          <pc:docMk/>
          <pc:sldMk cId="2608581497" sldId="325"/>
        </pc:sldMkLst>
      </pc:sldChg>
      <pc:sldChg chg="del">
        <pc:chgData name="Andreas Schröter" userId="S::andreas.schroeter@hfv-online.de::cd3701b5-2d10-46a4-9536-f48ca4e77ac1" providerId="AD" clId="Web-{61AE7B1E-1865-CB8C-4672-B3C992C24FA9}" dt="2022-01-07T13:52:55.664" v="249"/>
        <pc:sldMkLst>
          <pc:docMk/>
          <pc:sldMk cId="1889625373" sldId="326"/>
        </pc:sldMkLst>
      </pc:sldChg>
      <pc:sldChg chg="del">
        <pc:chgData name="Andreas Schröter" userId="S::andreas.schroeter@hfv-online.de::cd3701b5-2d10-46a4-9536-f48ca4e77ac1" providerId="AD" clId="Web-{61AE7B1E-1865-CB8C-4672-B3C992C24FA9}" dt="2022-01-07T13:52:18.458" v="229"/>
        <pc:sldMkLst>
          <pc:docMk/>
          <pc:sldMk cId="3401256507" sldId="330"/>
        </pc:sldMkLst>
      </pc:sldChg>
      <pc:sldChg chg="del">
        <pc:chgData name="Andreas Schröter" userId="S::andreas.schroeter@hfv-online.de::cd3701b5-2d10-46a4-9536-f48ca4e77ac1" providerId="AD" clId="Web-{61AE7B1E-1865-CB8C-4672-B3C992C24FA9}" dt="2022-01-07T13:52:22.584" v="230"/>
        <pc:sldMkLst>
          <pc:docMk/>
          <pc:sldMk cId="2976181390" sldId="332"/>
        </pc:sldMkLst>
      </pc:sldChg>
      <pc:sldChg chg="del">
        <pc:chgData name="Andreas Schröter" userId="S::andreas.schroeter@hfv-online.de::cd3701b5-2d10-46a4-9536-f48ca4e77ac1" providerId="AD" clId="Web-{61AE7B1E-1865-CB8C-4672-B3C992C24FA9}" dt="2022-01-07T13:52:41.413" v="235"/>
        <pc:sldMkLst>
          <pc:docMk/>
          <pc:sldMk cId="3860058385" sldId="333"/>
        </pc:sldMkLst>
      </pc:sldChg>
      <pc:sldChg chg="del">
        <pc:chgData name="Andreas Schröter" userId="S::andreas.schroeter@hfv-online.de::cd3701b5-2d10-46a4-9536-f48ca4e77ac1" providerId="AD" clId="Web-{61AE7B1E-1865-CB8C-4672-B3C992C24FA9}" dt="2022-01-07T13:51:41.346" v="205"/>
        <pc:sldMkLst>
          <pc:docMk/>
          <pc:sldMk cId="2104093145" sldId="339"/>
        </pc:sldMkLst>
      </pc:sldChg>
      <pc:sldChg chg="del">
        <pc:chgData name="Andreas Schröter" userId="S::andreas.schroeter@hfv-online.de::cd3701b5-2d10-46a4-9536-f48ca4e77ac1" providerId="AD" clId="Web-{61AE7B1E-1865-CB8C-4672-B3C992C24FA9}" dt="2022-01-07T13:51:42.674" v="206"/>
        <pc:sldMkLst>
          <pc:docMk/>
          <pc:sldMk cId="3271718411" sldId="340"/>
        </pc:sldMkLst>
      </pc:sldChg>
      <pc:sldChg chg="del">
        <pc:chgData name="Andreas Schröter" userId="S::andreas.schroeter@hfv-online.de::cd3701b5-2d10-46a4-9536-f48ca4e77ac1" providerId="AD" clId="Web-{61AE7B1E-1865-CB8C-4672-B3C992C24FA9}" dt="2022-01-07T13:51:59.285" v="216"/>
        <pc:sldMkLst>
          <pc:docMk/>
          <pc:sldMk cId="4111377117" sldId="344"/>
        </pc:sldMkLst>
      </pc:sldChg>
      <pc:sldChg chg="del">
        <pc:chgData name="Andreas Schröter" userId="S::andreas.schroeter@hfv-online.de::cd3701b5-2d10-46a4-9536-f48ca4e77ac1" providerId="AD" clId="Web-{61AE7B1E-1865-CB8C-4672-B3C992C24FA9}" dt="2022-01-07T13:52:00.082" v="217"/>
        <pc:sldMkLst>
          <pc:docMk/>
          <pc:sldMk cId="2218149003" sldId="345"/>
        </pc:sldMkLst>
      </pc:sldChg>
      <pc:sldChg chg="del">
        <pc:chgData name="Andreas Schröter" userId="S::andreas.schroeter@hfv-online.de::cd3701b5-2d10-46a4-9536-f48ca4e77ac1" providerId="AD" clId="Web-{61AE7B1E-1865-CB8C-4672-B3C992C24FA9}" dt="2022-01-07T13:51:56.394" v="214"/>
        <pc:sldMkLst>
          <pc:docMk/>
          <pc:sldMk cId="1808811953" sldId="346"/>
        </pc:sldMkLst>
      </pc:sldChg>
      <pc:sldChg chg="del">
        <pc:chgData name="Andreas Schröter" userId="S::andreas.schroeter@hfv-online.de::cd3701b5-2d10-46a4-9536-f48ca4e77ac1" providerId="AD" clId="Web-{61AE7B1E-1865-CB8C-4672-B3C992C24FA9}" dt="2022-01-07T13:51:58.488" v="215"/>
        <pc:sldMkLst>
          <pc:docMk/>
          <pc:sldMk cId="263288901" sldId="347"/>
        </pc:sldMkLst>
      </pc:sldChg>
      <pc:sldChg chg="del">
        <pc:chgData name="Andreas Schröter" userId="S::andreas.schroeter@hfv-online.de::cd3701b5-2d10-46a4-9536-f48ca4e77ac1" providerId="AD" clId="Web-{61AE7B1E-1865-CB8C-4672-B3C992C24FA9}" dt="2022-01-07T13:52:00.894" v="218"/>
        <pc:sldMkLst>
          <pc:docMk/>
          <pc:sldMk cId="3605741897" sldId="348"/>
        </pc:sldMkLst>
      </pc:sldChg>
      <pc:sldChg chg="del">
        <pc:chgData name="Andreas Schröter" userId="S::andreas.schroeter@hfv-online.de::cd3701b5-2d10-46a4-9536-f48ca4e77ac1" providerId="AD" clId="Web-{61AE7B1E-1865-CB8C-4672-B3C992C24FA9}" dt="2022-01-07T13:52:02.098" v="219"/>
        <pc:sldMkLst>
          <pc:docMk/>
          <pc:sldMk cId="4210958234" sldId="349"/>
        </pc:sldMkLst>
      </pc:sldChg>
      <pc:sldChg chg="del">
        <pc:chgData name="Andreas Schröter" userId="S::andreas.schroeter@hfv-online.de::cd3701b5-2d10-46a4-9536-f48ca4e77ac1" providerId="AD" clId="Web-{61AE7B1E-1865-CB8C-4672-B3C992C24FA9}" dt="2022-01-07T13:52:55.680" v="252"/>
        <pc:sldMkLst>
          <pc:docMk/>
          <pc:sldMk cId="1855138938" sldId="350"/>
        </pc:sldMkLst>
      </pc:sldChg>
      <pc:sldChg chg="del">
        <pc:chgData name="Andreas Schröter" userId="S::andreas.schroeter@hfv-online.de::cd3701b5-2d10-46a4-9536-f48ca4e77ac1" providerId="AD" clId="Web-{61AE7B1E-1865-CB8C-4672-B3C992C24FA9}" dt="2022-01-07T13:52:55.680" v="251"/>
        <pc:sldMkLst>
          <pc:docMk/>
          <pc:sldMk cId="2061396167" sldId="351"/>
        </pc:sldMkLst>
      </pc:sldChg>
      <pc:sldChg chg="del">
        <pc:chgData name="Andreas Schröter" userId="S::andreas.schroeter@hfv-online.de::cd3701b5-2d10-46a4-9536-f48ca4e77ac1" providerId="AD" clId="Web-{61AE7B1E-1865-CB8C-4672-B3C992C24FA9}" dt="2022-01-07T13:52:55.664" v="250"/>
        <pc:sldMkLst>
          <pc:docMk/>
          <pc:sldMk cId="628557993" sldId="352"/>
        </pc:sldMkLst>
      </pc:sldChg>
      <pc:sldChg chg="del">
        <pc:chgData name="Andreas Schröter" userId="S::andreas.schroeter@hfv-online.de::cd3701b5-2d10-46a4-9536-f48ca4e77ac1" providerId="AD" clId="Web-{61AE7B1E-1865-CB8C-4672-B3C992C24FA9}" dt="2022-01-07T13:52:55.680" v="253"/>
        <pc:sldMkLst>
          <pc:docMk/>
          <pc:sldMk cId="3578560408" sldId="353"/>
        </pc:sldMkLst>
      </pc:sldChg>
      <pc:sldChg chg="del">
        <pc:chgData name="Andreas Schröter" userId="S::andreas.schroeter@hfv-online.de::cd3701b5-2d10-46a4-9536-f48ca4e77ac1" providerId="AD" clId="Web-{61AE7B1E-1865-CB8C-4672-B3C992C24FA9}" dt="2022-01-07T13:52:55.696" v="257"/>
        <pc:sldMkLst>
          <pc:docMk/>
          <pc:sldMk cId="2268578371" sldId="354"/>
        </pc:sldMkLst>
      </pc:sldChg>
      <pc:sldChg chg="del">
        <pc:chgData name="Andreas Schröter" userId="S::andreas.schroeter@hfv-online.de::cd3701b5-2d10-46a4-9536-f48ca4e77ac1" providerId="AD" clId="Web-{61AE7B1E-1865-CB8C-4672-B3C992C24FA9}" dt="2022-01-07T13:52:55.696" v="255"/>
        <pc:sldMkLst>
          <pc:docMk/>
          <pc:sldMk cId="1145410345" sldId="355"/>
        </pc:sldMkLst>
      </pc:sldChg>
      <pc:sldChg chg="del">
        <pc:chgData name="Andreas Schröter" userId="S::andreas.schroeter@hfv-online.de::cd3701b5-2d10-46a4-9536-f48ca4e77ac1" providerId="AD" clId="Web-{61AE7B1E-1865-CB8C-4672-B3C992C24FA9}" dt="2022-01-07T13:52:55.696" v="256"/>
        <pc:sldMkLst>
          <pc:docMk/>
          <pc:sldMk cId="4006995415" sldId="356"/>
        </pc:sldMkLst>
      </pc:sldChg>
      <pc:sldChg chg="del">
        <pc:chgData name="Andreas Schröter" userId="S::andreas.schroeter@hfv-online.de::cd3701b5-2d10-46a4-9536-f48ca4e77ac1" providerId="AD" clId="Web-{61AE7B1E-1865-CB8C-4672-B3C992C24FA9}" dt="2022-01-07T13:52:55.446" v="241"/>
        <pc:sldMkLst>
          <pc:docMk/>
          <pc:sldMk cId="3551501559" sldId="357"/>
        </pc:sldMkLst>
      </pc:sldChg>
      <pc:sldChg chg="del">
        <pc:chgData name="Andreas Schröter" userId="S::andreas.schroeter@hfv-online.de::cd3701b5-2d10-46a4-9536-f48ca4e77ac1" providerId="AD" clId="Web-{61AE7B1E-1865-CB8C-4672-B3C992C24FA9}" dt="2022-01-07T13:52:55.446" v="240"/>
        <pc:sldMkLst>
          <pc:docMk/>
          <pc:sldMk cId="423189872" sldId="358"/>
        </pc:sldMkLst>
      </pc:sldChg>
      <pc:sldChg chg="del">
        <pc:chgData name="Andreas Schröter" userId="S::andreas.schroeter@hfv-online.de::cd3701b5-2d10-46a4-9536-f48ca4e77ac1" providerId="AD" clId="Web-{61AE7B1E-1865-CB8C-4672-B3C992C24FA9}" dt="2022-01-07T13:52:55.446" v="239"/>
        <pc:sldMkLst>
          <pc:docMk/>
          <pc:sldMk cId="477115644" sldId="359"/>
        </pc:sldMkLst>
      </pc:sldChg>
      <pc:sldChg chg="del">
        <pc:chgData name="Andreas Schröter" userId="S::andreas.schroeter@hfv-online.de::cd3701b5-2d10-46a4-9536-f48ca4e77ac1" providerId="AD" clId="Web-{61AE7B1E-1865-CB8C-4672-B3C992C24FA9}" dt="2022-01-07T13:52:55.461" v="242"/>
        <pc:sldMkLst>
          <pc:docMk/>
          <pc:sldMk cId="906918847" sldId="360"/>
        </pc:sldMkLst>
      </pc:sldChg>
      <pc:sldChg chg="del">
        <pc:chgData name="Andreas Schröter" userId="S::andreas.schroeter@hfv-online.de::cd3701b5-2d10-46a4-9536-f48ca4e77ac1" providerId="AD" clId="Web-{61AE7B1E-1865-CB8C-4672-B3C992C24FA9}" dt="2022-01-07T13:51:51.972" v="210"/>
        <pc:sldMkLst>
          <pc:docMk/>
          <pc:sldMk cId="718620115" sldId="361"/>
        </pc:sldMkLst>
      </pc:sldChg>
      <pc:sldChg chg="modSp add replId">
        <pc:chgData name="Andreas Schröter" userId="S::andreas.schroeter@hfv-online.de::cd3701b5-2d10-46a4-9536-f48ca4e77ac1" providerId="AD" clId="Web-{61AE7B1E-1865-CB8C-4672-B3C992C24FA9}" dt="2022-01-07T13:50:58.811" v="182" actId="20577"/>
        <pc:sldMkLst>
          <pc:docMk/>
          <pc:sldMk cId="978049086" sldId="362"/>
        </pc:sldMkLst>
        <pc:spChg chg="mod">
          <ac:chgData name="Andreas Schröter" userId="S::andreas.schroeter@hfv-online.de::cd3701b5-2d10-46a4-9536-f48ca4e77ac1" providerId="AD" clId="Web-{61AE7B1E-1865-CB8C-4672-B3C992C24FA9}" dt="2022-01-07T13:50:27.403" v="146" actId="20577"/>
          <ac:spMkLst>
            <pc:docMk/>
            <pc:sldMk cId="978049086" sldId="362"/>
            <ac:spMk id="8" creationId="{00000000-0000-0000-0000-000000000000}"/>
          </ac:spMkLst>
        </pc:spChg>
        <pc:spChg chg="mod">
          <ac:chgData name="Andreas Schröter" userId="S::andreas.schroeter@hfv-online.de::cd3701b5-2d10-46a4-9536-f48ca4e77ac1" providerId="AD" clId="Web-{61AE7B1E-1865-CB8C-4672-B3C992C24FA9}" dt="2022-01-07T13:50:58.811" v="182" actId="20577"/>
          <ac:spMkLst>
            <pc:docMk/>
            <pc:sldMk cId="978049086" sldId="362"/>
            <ac:spMk id="9" creationId="{00000000-0000-0000-0000-000000000000}"/>
          </ac:spMkLst>
        </pc:spChg>
      </pc:sldChg>
      <pc:sldChg chg="add del replId">
        <pc:chgData name="Andreas Schröter" userId="S::andreas.schroeter@hfv-online.de::cd3701b5-2d10-46a4-9536-f48ca4e77ac1" providerId="AD" clId="Web-{61AE7B1E-1865-CB8C-4672-B3C992C24FA9}" dt="2022-01-07T13:51:37.143" v="201"/>
        <pc:sldMkLst>
          <pc:docMk/>
          <pc:sldMk cId="2942345360" sldId="363"/>
        </pc:sldMkLst>
      </pc:sldChg>
      <pc:sldChg chg="modSp add replId">
        <pc:chgData name="Andreas Schröter" userId="S::andreas.schroeter@hfv-online.de::cd3701b5-2d10-46a4-9536-f48ca4e77ac1" providerId="AD" clId="Web-{61AE7B1E-1865-CB8C-4672-B3C992C24FA9}" dt="2022-01-07T13:51:34.330" v="200" actId="20577"/>
        <pc:sldMkLst>
          <pc:docMk/>
          <pc:sldMk cId="1925108296" sldId="364"/>
        </pc:sldMkLst>
        <pc:spChg chg="mod">
          <ac:chgData name="Andreas Schröter" userId="S::andreas.schroeter@hfv-online.de::cd3701b5-2d10-46a4-9536-f48ca4e77ac1" providerId="AD" clId="Web-{61AE7B1E-1865-CB8C-4672-B3C992C24FA9}" dt="2022-01-07T13:51:34.330" v="200" actId="20577"/>
          <ac:spMkLst>
            <pc:docMk/>
            <pc:sldMk cId="1925108296" sldId="364"/>
            <ac:spMk id="9" creationId="{00000000-0000-0000-0000-000000000000}"/>
          </ac:spMkLst>
        </pc:spChg>
      </pc:sldChg>
    </pc:docChg>
  </pc:docChgLst>
  <pc:docChgLst>
    <pc:chgData name="Andreas Schröter" userId="S::andreas.schroeter@hfv-online.de::cd3701b5-2d10-46a4-9536-f48ca4e77ac1" providerId="AD" clId="Web-{1C2D961B-53EA-8AA1-F6EC-4DA8C514AC01}"/>
    <pc:docChg chg="delSld modSld">
      <pc:chgData name="Andreas Schröter" userId="S::andreas.schroeter@hfv-online.de::cd3701b5-2d10-46a4-9536-f48ca4e77ac1" providerId="AD" clId="Web-{1C2D961B-53EA-8AA1-F6EC-4DA8C514AC01}" dt="2022-01-07T12:25:46.451" v="29"/>
      <pc:docMkLst>
        <pc:docMk/>
      </pc:docMkLst>
      <pc:sldChg chg="modSp">
        <pc:chgData name="Andreas Schröter" userId="S::andreas.schroeter@hfv-online.de::cd3701b5-2d10-46a4-9536-f48ca4e77ac1" providerId="AD" clId="Web-{1C2D961B-53EA-8AA1-F6EC-4DA8C514AC01}" dt="2022-01-07T12:25:10.714" v="18" actId="20577"/>
        <pc:sldMkLst>
          <pc:docMk/>
          <pc:sldMk cId="1254673291" sldId="275"/>
        </pc:sldMkLst>
        <pc:spChg chg="mod">
          <ac:chgData name="Andreas Schröter" userId="S::andreas.schroeter@hfv-online.de::cd3701b5-2d10-46a4-9536-f48ca4e77ac1" providerId="AD" clId="Web-{1C2D961B-53EA-8AA1-F6EC-4DA8C514AC01}" dt="2022-01-07T12:25:10.714" v="18" actId="20577"/>
          <ac:spMkLst>
            <pc:docMk/>
            <pc:sldMk cId="1254673291" sldId="275"/>
            <ac:spMk id="6" creationId="{00000000-0000-0000-0000-000000000000}"/>
          </ac:spMkLst>
        </pc:spChg>
      </pc:sldChg>
      <pc:sldChg chg="del">
        <pc:chgData name="Andreas Schröter" userId="S::andreas.schroeter@hfv-online.de::cd3701b5-2d10-46a4-9536-f48ca4e77ac1" providerId="AD" clId="Web-{1C2D961B-53EA-8AA1-F6EC-4DA8C514AC01}" dt="2022-01-07T12:25:22.059" v="19"/>
        <pc:sldMkLst>
          <pc:docMk/>
          <pc:sldMk cId="1613937480" sldId="279"/>
        </pc:sldMkLst>
      </pc:sldChg>
      <pc:sldChg chg="del">
        <pc:chgData name="Andreas Schröter" userId="S::andreas.schroeter@hfv-online.de::cd3701b5-2d10-46a4-9536-f48ca4e77ac1" providerId="AD" clId="Web-{1C2D961B-53EA-8AA1-F6EC-4DA8C514AC01}" dt="2022-01-07T12:25:24.106" v="20"/>
        <pc:sldMkLst>
          <pc:docMk/>
          <pc:sldMk cId="179456592" sldId="280"/>
        </pc:sldMkLst>
      </pc:sldChg>
      <pc:sldChg chg="del">
        <pc:chgData name="Andreas Schröter" userId="S::andreas.schroeter@hfv-online.de::cd3701b5-2d10-46a4-9536-f48ca4e77ac1" providerId="AD" clId="Web-{1C2D961B-53EA-8AA1-F6EC-4DA8C514AC01}" dt="2022-01-07T12:25:35.294" v="25"/>
        <pc:sldMkLst>
          <pc:docMk/>
          <pc:sldMk cId="818559991" sldId="284"/>
        </pc:sldMkLst>
      </pc:sldChg>
      <pc:sldChg chg="del">
        <pc:chgData name="Andreas Schröter" userId="S::andreas.schroeter@hfv-online.de::cd3701b5-2d10-46a4-9536-f48ca4e77ac1" providerId="AD" clId="Web-{1C2D961B-53EA-8AA1-F6EC-4DA8C514AC01}" dt="2022-01-07T12:25:42.060" v="26"/>
        <pc:sldMkLst>
          <pc:docMk/>
          <pc:sldMk cId="4222328770" sldId="286"/>
        </pc:sldMkLst>
      </pc:sldChg>
      <pc:sldChg chg="del">
        <pc:chgData name="Andreas Schröter" userId="S::andreas.schroeter@hfv-online.de::cd3701b5-2d10-46a4-9536-f48ca4e77ac1" providerId="AD" clId="Web-{1C2D961B-53EA-8AA1-F6EC-4DA8C514AC01}" dt="2022-01-07T12:25:44.217" v="27"/>
        <pc:sldMkLst>
          <pc:docMk/>
          <pc:sldMk cId="3625140404" sldId="287"/>
        </pc:sldMkLst>
      </pc:sldChg>
      <pc:sldChg chg="del">
        <pc:chgData name="Andreas Schröter" userId="S::andreas.schroeter@hfv-online.de::cd3701b5-2d10-46a4-9536-f48ca4e77ac1" providerId="AD" clId="Web-{1C2D961B-53EA-8AA1-F6EC-4DA8C514AC01}" dt="2022-01-07T12:25:30.388" v="21"/>
        <pc:sldMkLst>
          <pc:docMk/>
          <pc:sldMk cId="1812173286" sldId="334"/>
        </pc:sldMkLst>
      </pc:sldChg>
      <pc:sldChg chg="del">
        <pc:chgData name="Andreas Schröter" userId="S::andreas.schroeter@hfv-online.de::cd3701b5-2d10-46a4-9536-f48ca4e77ac1" providerId="AD" clId="Web-{1C2D961B-53EA-8AA1-F6EC-4DA8C514AC01}" dt="2022-01-07T12:25:33.685" v="23"/>
        <pc:sldMkLst>
          <pc:docMk/>
          <pc:sldMk cId="1554045841" sldId="336"/>
        </pc:sldMkLst>
      </pc:sldChg>
      <pc:sldChg chg="del">
        <pc:chgData name="Andreas Schröter" userId="S::andreas.schroeter@hfv-online.de::cd3701b5-2d10-46a4-9536-f48ca4e77ac1" providerId="AD" clId="Web-{1C2D961B-53EA-8AA1-F6EC-4DA8C514AC01}" dt="2022-01-07T12:25:31.591" v="22"/>
        <pc:sldMkLst>
          <pc:docMk/>
          <pc:sldMk cId="1584706994" sldId="337"/>
        </pc:sldMkLst>
      </pc:sldChg>
      <pc:sldChg chg="del">
        <pc:chgData name="Andreas Schröter" userId="S::andreas.schroeter@hfv-online.de::cd3701b5-2d10-46a4-9536-f48ca4e77ac1" providerId="AD" clId="Web-{1C2D961B-53EA-8AA1-F6EC-4DA8C514AC01}" dt="2022-01-07T12:25:34.529" v="24"/>
        <pc:sldMkLst>
          <pc:docMk/>
          <pc:sldMk cId="1596922398" sldId="341"/>
        </pc:sldMkLst>
      </pc:sldChg>
      <pc:sldChg chg="del">
        <pc:chgData name="Andreas Schröter" userId="S::andreas.schroeter@hfv-online.de::cd3701b5-2d10-46a4-9536-f48ca4e77ac1" providerId="AD" clId="Web-{1C2D961B-53EA-8AA1-F6EC-4DA8C514AC01}" dt="2022-01-07T12:25:45.420" v="28"/>
        <pc:sldMkLst>
          <pc:docMk/>
          <pc:sldMk cId="200593619" sldId="342"/>
        </pc:sldMkLst>
      </pc:sldChg>
      <pc:sldChg chg="del">
        <pc:chgData name="Andreas Schröter" userId="S::andreas.schroeter@hfv-online.de::cd3701b5-2d10-46a4-9536-f48ca4e77ac1" providerId="AD" clId="Web-{1C2D961B-53EA-8AA1-F6EC-4DA8C514AC01}" dt="2022-01-07T12:25:46.451" v="29"/>
        <pc:sldMkLst>
          <pc:docMk/>
          <pc:sldMk cId="4126282916" sldId="343"/>
        </pc:sldMkLst>
      </pc:sldChg>
    </pc:docChg>
  </pc:docChgLst>
  <pc:docChgLst>
    <pc:chgData name="Menzel, Oscar" userId="c07821de-8790-4c5d-acb5-8f5e137d852d" providerId="ADAL" clId="{072A70F3-40C3-4BE7-981D-DC725D480583}"/>
    <pc:docChg chg="undo custSel modSld">
      <pc:chgData name="Menzel, Oscar" userId="c07821de-8790-4c5d-acb5-8f5e137d852d" providerId="ADAL" clId="{072A70F3-40C3-4BE7-981D-DC725D480583}" dt="2021-05-02T13:31:50.517" v="6" actId="478"/>
      <pc:docMkLst>
        <pc:docMk/>
      </pc:docMkLst>
      <pc:sldChg chg="addSp delSp modSp mod">
        <pc:chgData name="Menzel, Oscar" userId="c07821de-8790-4c5d-acb5-8f5e137d852d" providerId="ADAL" clId="{072A70F3-40C3-4BE7-981D-DC725D480583}" dt="2021-05-02T13:31:50.517" v="6" actId="478"/>
        <pc:sldMkLst>
          <pc:docMk/>
          <pc:sldMk cId="1783838724" sldId="320"/>
        </pc:sldMkLst>
        <pc:spChg chg="mod">
          <ac:chgData name="Menzel, Oscar" userId="c07821de-8790-4c5d-acb5-8f5e137d852d" providerId="ADAL" clId="{072A70F3-40C3-4BE7-981D-DC725D480583}" dt="2021-05-01T14:59:27.374" v="0" actId="1076"/>
          <ac:spMkLst>
            <pc:docMk/>
            <pc:sldMk cId="1783838724" sldId="320"/>
            <ac:spMk id="2" creationId="{00000000-0000-0000-0000-000000000000}"/>
          </ac:spMkLst>
        </pc:spChg>
        <pc:spChg chg="mod">
          <ac:chgData name="Menzel, Oscar" userId="c07821de-8790-4c5d-acb5-8f5e137d852d" providerId="ADAL" clId="{072A70F3-40C3-4BE7-981D-DC725D480583}" dt="2021-05-02T13:31:42.109" v="4" actId="478"/>
          <ac:spMkLst>
            <pc:docMk/>
            <pc:sldMk cId="1783838724" sldId="320"/>
            <ac:spMk id="107" creationId="{00000000-0000-0000-0000-000000000000}"/>
          </ac:spMkLst>
        </pc:spChg>
        <pc:spChg chg="mod">
          <ac:chgData name="Menzel, Oscar" userId="c07821de-8790-4c5d-acb5-8f5e137d852d" providerId="ADAL" clId="{072A70F3-40C3-4BE7-981D-DC725D480583}" dt="2021-05-02T13:31:42.109" v="4" actId="478"/>
          <ac:spMkLst>
            <pc:docMk/>
            <pc:sldMk cId="1783838724" sldId="320"/>
            <ac:spMk id="108" creationId="{00000000-0000-0000-0000-000000000000}"/>
          </ac:spMkLst>
        </pc:spChg>
        <pc:spChg chg="mod">
          <ac:chgData name="Menzel, Oscar" userId="c07821de-8790-4c5d-acb5-8f5e137d852d" providerId="ADAL" clId="{072A70F3-40C3-4BE7-981D-DC725D480583}" dt="2021-05-02T13:31:42.109" v="4" actId="478"/>
          <ac:spMkLst>
            <pc:docMk/>
            <pc:sldMk cId="1783838724" sldId="320"/>
            <ac:spMk id="109" creationId="{00000000-0000-0000-0000-000000000000}"/>
          </ac:spMkLst>
        </pc:spChg>
        <pc:spChg chg="mod">
          <ac:chgData name="Menzel, Oscar" userId="c07821de-8790-4c5d-acb5-8f5e137d852d" providerId="ADAL" clId="{072A70F3-40C3-4BE7-981D-DC725D480583}" dt="2021-05-02T13:31:42.109" v="4" actId="478"/>
          <ac:spMkLst>
            <pc:docMk/>
            <pc:sldMk cId="1783838724" sldId="320"/>
            <ac:spMk id="110" creationId="{00000000-0000-0000-0000-000000000000}"/>
          </ac:spMkLst>
        </pc:spChg>
        <pc:spChg chg="mod">
          <ac:chgData name="Menzel, Oscar" userId="c07821de-8790-4c5d-acb5-8f5e137d852d" providerId="ADAL" clId="{072A70F3-40C3-4BE7-981D-DC725D480583}" dt="2021-05-02T13:31:42.109" v="4" actId="478"/>
          <ac:spMkLst>
            <pc:docMk/>
            <pc:sldMk cId="1783838724" sldId="320"/>
            <ac:spMk id="111" creationId="{00000000-0000-0000-0000-000000000000}"/>
          </ac:spMkLst>
        </pc:spChg>
        <pc:spChg chg="mod">
          <ac:chgData name="Menzel, Oscar" userId="c07821de-8790-4c5d-acb5-8f5e137d852d" providerId="ADAL" clId="{072A70F3-40C3-4BE7-981D-DC725D480583}" dt="2021-05-02T13:31:42.109" v="4" actId="478"/>
          <ac:spMkLst>
            <pc:docMk/>
            <pc:sldMk cId="1783838724" sldId="320"/>
            <ac:spMk id="112" creationId="{00000000-0000-0000-0000-000000000000}"/>
          </ac:spMkLst>
        </pc:spChg>
        <pc:spChg chg="mod">
          <ac:chgData name="Menzel, Oscar" userId="c07821de-8790-4c5d-acb5-8f5e137d852d" providerId="ADAL" clId="{072A70F3-40C3-4BE7-981D-DC725D480583}" dt="2021-05-02T13:31:42.109" v="4" actId="478"/>
          <ac:spMkLst>
            <pc:docMk/>
            <pc:sldMk cId="1783838724" sldId="320"/>
            <ac:spMk id="113" creationId="{00000000-0000-0000-0000-000000000000}"/>
          </ac:spMkLst>
        </pc:spChg>
        <pc:spChg chg="mod">
          <ac:chgData name="Menzel, Oscar" userId="c07821de-8790-4c5d-acb5-8f5e137d852d" providerId="ADAL" clId="{072A70F3-40C3-4BE7-981D-DC725D480583}" dt="2021-05-02T13:31:42.109" v="4" actId="478"/>
          <ac:spMkLst>
            <pc:docMk/>
            <pc:sldMk cId="1783838724" sldId="320"/>
            <ac:spMk id="114" creationId="{00000000-0000-0000-0000-000000000000}"/>
          </ac:spMkLst>
        </pc:spChg>
        <pc:spChg chg="mod">
          <ac:chgData name="Menzel, Oscar" userId="c07821de-8790-4c5d-acb5-8f5e137d852d" providerId="ADAL" clId="{072A70F3-40C3-4BE7-981D-DC725D480583}" dt="2021-05-02T13:31:42.109" v="4" actId="478"/>
          <ac:spMkLst>
            <pc:docMk/>
            <pc:sldMk cId="1783838724" sldId="320"/>
            <ac:spMk id="115" creationId="{00000000-0000-0000-0000-000000000000}"/>
          </ac:spMkLst>
        </pc:spChg>
        <pc:spChg chg="mod">
          <ac:chgData name="Menzel, Oscar" userId="c07821de-8790-4c5d-acb5-8f5e137d852d" providerId="ADAL" clId="{072A70F3-40C3-4BE7-981D-DC725D480583}" dt="2021-05-02T13:31:42.109" v="4" actId="478"/>
          <ac:spMkLst>
            <pc:docMk/>
            <pc:sldMk cId="1783838724" sldId="320"/>
            <ac:spMk id="116" creationId="{00000000-0000-0000-0000-000000000000}"/>
          </ac:spMkLst>
        </pc:spChg>
        <pc:spChg chg="mod">
          <ac:chgData name="Menzel, Oscar" userId="c07821de-8790-4c5d-acb5-8f5e137d852d" providerId="ADAL" clId="{072A70F3-40C3-4BE7-981D-DC725D480583}" dt="2021-05-02T13:31:42.109" v="4" actId="478"/>
          <ac:spMkLst>
            <pc:docMk/>
            <pc:sldMk cId="1783838724" sldId="320"/>
            <ac:spMk id="117" creationId="{00000000-0000-0000-0000-000000000000}"/>
          </ac:spMkLst>
        </pc:spChg>
        <pc:spChg chg="mod">
          <ac:chgData name="Menzel, Oscar" userId="c07821de-8790-4c5d-acb5-8f5e137d852d" providerId="ADAL" clId="{072A70F3-40C3-4BE7-981D-DC725D480583}" dt="2021-05-02T13:31:42.109" v="4" actId="478"/>
          <ac:spMkLst>
            <pc:docMk/>
            <pc:sldMk cId="1783838724" sldId="320"/>
            <ac:spMk id="118" creationId="{00000000-0000-0000-0000-000000000000}"/>
          </ac:spMkLst>
        </pc:spChg>
        <pc:spChg chg="mod">
          <ac:chgData name="Menzel, Oscar" userId="c07821de-8790-4c5d-acb5-8f5e137d852d" providerId="ADAL" clId="{072A70F3-40C3-4BE7-981D-DC725D480583}" dt="2021-05-02T13:31:42.109" v="4" actId="478"/>
          <ac:spMkLst>
            <pc:docMk/>
            <pc:sldMk cId="1783838724" sldId="320"/>
            <ac:spMk id="119" creationId="{00000000-0000-0000-0000-000000000000}"/>
          </ac:spMkLst>
        </pc:spChg>
        <pc:spChg chg="mod">
          <ac:chgData name="Menzel, Oscar" userId="c07821de-8790-4c5d-acb5-8f5e137d852d" providerId="ADAL" clId="{072A70F3-40C3-4BE7-981D-DC725D480583}" dt="2021-05-02T13:31:42.109" v="4" actId="478"/>
          <ac:spMkLst>
            <pc:docMk/>
            <pc:sldMk cId="1783838724" sldId="320"/>
            <ac:spMk id="120" creationId="{00000000-0000-0000-0000-000000000000}"/>
          </ac:spMkLst>
        </pc:spChg>
        <pc:spChg chg="add del">
          <ac:chgData name="Menzel, Oscar" userId="c07821de-8790-4c5d-acb5-8f5e137d852d" providerId="ADAL" clId="{072A70F3-40C3-4BE7-981D-DC725D480583}" dt="2021-05-02T13:31:42.109" v="4" actId="478"/>
          <ac:spMkLst>
            <pc:docMk/>
            <pc:sldMk cId="1783838724" sldId="320"/>
            <ac:spMk id="121" creationId="{00000000-0000-0000-0000-000000000000}"/>
          </ac:spMkLst>
        </pc:spChg>
        <pc:spChg chg="mod">
          <ac:chgData name="Menzel, Oscar" userId="c07821de-8790-4c5d-acb5-8f5e137d852d" providerId="ADAL" clId="{072A70F3-40C3-4BE7-981D-DC725D480583}" dt="2021-05-02T13:31:42.109" v="4" actId="478"/>
          <ac:spMkLst>
            <pc:docMk/>
            <pc:sldMk cId="1783838724" sldId="320"/>
            <ac:spMk id="122" creationId="{00000000-0000-0000-0000-000000000000}"/>
          </ac:spMkLst>
        </pc:spChg>
        <pc:spChg chg="mod">
          <ac:chgData name="Menzel, Oscar" userId="c07821de-8790-4c5d-acb5-8f5e137d852d" providerId="ADAL" clId="{072A70F3-40C3-4BE7-981D-DC725D480583}" dt="2021-05-02T13:31:42.109" v="4" actId="478"/>
          <ac:spMkLst>
            <pc:docMk/>
            <pc:sldMk cId="1783838724" sldId="320"/>
            <ac:spMk id="123" creationId="{00000000-0000-0000-0000-000000000000}"/>
          </ac:spMkLst>
        </pc:spChg>
        <pc:spChg chg="mod">
          <ac:chgData name="Menzel, Oscar" userId="c07821de-8790-4c5d-acb5-8f5e137d852d" providerId="ADAL" clId="{072A70F3-40C3-4BE7-981D-DC725D480583}" dt="2021-05-02T13:31:42.109" v="4" actId="478"/>
          <ac:spMkLst>
            <pc:docMk/>
            <pc:sldMk cId="1783838724" sldId="320"/>
            <ac:spMk id="124" creationId="{00000000-0000-0000-0000-000000000000}"/>
          </ac:spMkLst>
        </pc:spChg>
        <pc:spChg chg="mod">
          <ac:chgData name="Menzel, Oscar" userId="c07821de-8790-4c5d-acb5-8f5e137d852d" providerId="ADAL" clId="{072A70F3-40C3-4BE7-981D-DC725D480583}" dt="2021-05-02T13:31:42.109" v="4" actId="478"/>
          <ac:spMkLst>
            <pc:docMk/>
            <pc:sldMk cId="1783838724" sldId="320"/>
            <ac:spMk id="125" creationId="{00000000-0000-0000-0000-000000000000}"/>
          </ac:spMkLst>
        </pc:spChg>
        <pc:spChg chg="mod">
          <ac:chgData name="Menzel, Oscar" userId="c07821de-8790-4c5d-acb5-8f5e137d852d" providerId="ADAL" clId="{072A70F3-40C3-4BE7-981D-DC725D480583}" dt="2021-05-02T13:31:42.109" v="4" actId="478"/>
          <ac:spMkLst>
            <pc:docMk/>
            <pc:sldMk cId="1783838724" sldId="320"/>
            <ac:spMk id="126" creationId="{00000000-0000-0000-0000-000000000000}"/>
          </ac:spMkLst>
        </pc:spChg>
        <pc:spChg chg="mod">
          <ac:chgData name="Menzel, Oscar" userId="c07821de-8790-4c5d-acb5-8f5e137d852d" providerId="ADAL" clId="{072A70F3-40C3-4BE7-981D-DC725D480583}" dt="2021-05-02T13:31:42.109" v="4" actId="478"/>
          <ac:spMkLst>
            <pc:docMk/>
            <pc:sldMk cId="1783838724" sldId="320"/>
            <ac:spMk id="127" creationId="{00000000-0000-0000-0000-000000000000}"/>
          </ac:spMkLst>
        </pc:spChg>
        <pc:spChg chg="mod">
          <ac:chgData name="Menzel, Oscar" userId="c07821de-8790-4c5d-acb5-8f5e137d852d" providerId="ADAL" clId="{072A70F3-40C3-4BE7-981D-DC725D480583}" dt="2021-05-02T13:31:42.109" v="4" actId="478"/>
          <ac:spMkLst>
            <pc:docMk/>
            <pc:sldMk cId="1783838724" sldId="320"/>
            <ac:spMk id="128" creationId="{00000000-0000-0000-0000-000000000000}"/>
          </ac:spMkLst>
        </pc:spChg>
        <pc:spChg chg="mod">
          <ac:chgData name="Menzel, Oscar" userId="c07821de-8790-4c5d-acb5-8f5e137d852d" providerId="ADAL" clId="{072A70F3-40C3-4BE7-981D-DC725D480583}" dt="2021-05-02T13:31:42.109" v="4" actId="478"/>
          <ac:spMkLst>
            <pc:docMk/>
            <pc:sldMk cId="1783838724" sldId="320"/>
            <ac:spMk id="129" creationId="{00000000-0000-0000-0000-000000000000}"/>
          </ac:spMkLst>
        </pc:spChg>
        <pc:spChg chg="mod">
          <ac:chgData name="Menzel, Oscar" userId="c07821de-8790-4c5d-acb5-8f5e137d852d" providerId="ADAL" clId="{072A70F3-40C3-4BE7-981D-DC725D480583}" dt="2021-05-02T13:31:42.109" v="4" actId="478"/>
          <ac:spMkLst>
            <pc:docMk/>
            <pc:sldMk cId="1783838724" sldId="320"/>
            <ac:spMk id="130" creationId="{00000000-0000-0000-0000-000000000000}"/>
          </ac:spMkLst>
        </pc:spChg>
        <pc:spChg chg="mod">
          <ac:chgData name="Menzel, Oscar" userId="c07821de-8790-4c5d-acb5-8f5e137d852d" providerId="ADAL" clId="{072A70F3-40C3-4BE7-981D-DC725D480583}" dt="2021-05-02T13:31:42.109" v="4" actId="478"/>
          <ac:spMkLst>
            <pc:docMk/>
            <pc:sldMk cId="1783838724" sldId="320"/>
            <ac:spMk id="131" creationId="{00000000-0000-0000-0000-000000000000}"/>
          </ac:spMkLst>
        </pc:spChg>
        <pc:spChg chg="mod">
          <ac:chgData name="Menzel, Oscar" userId="c07821de-8790-4c5d-acb5-8f5e137d852d" providerId="ADAL" clId="{072A70F3-40C3-4BE7-981D-DC725D480583}" dt="2021-05-02T13:31:42.109" v="4" actId="478"/>
          <ac:spMkLst>
            <pc:docMk/>
            <pc:sldMk cId="1783838724" sldId="320"/>
            <ac:spMk id="132" creationId="{00000000-0000-0000-0000-000000000000}"/>
          </ac:spMkLst>
        </pc:spChg>
        <pc:spChg chg="mod">
          <ac:chgData name="Menzel, Oscar" userId="c07821de-8790-4c5d-acb5-8f5e137d852d" providerId="ADAL" clId="{072A70F3-40C3-4BE7-981D-DC725D480583}" dt="2021-05-02T13:31:42.109" v="4" actId="478"/>
          <ac:spMkLst>
            <pc:docMk/>
            <pc:sldMk cId="1783838724" sldId="320"/>
            <ac:spMk id="133" creationId="{00000000-0000-0000-0000-000000000000}"/>
          </ac:spMkLst>
        </pc:spChg>
        <pc:spChg chg="mod">
          <ac:chgData name="Menzel, Oscar" userId="c07821de-8790-4c5d-acb5-8f5e137d852d" providerId="ADAL" clId="{072A70F3-40C3-4BE7-981D-DC725D480583}" dt="2021-05-02T13:31:42.109" v="4" actId="478"/>
          <ac:spMkLst>
            <pc:docMk/>
            <pc:sldMk cId="1783838724" sldId="320"/>
            <ac:spMk id="134" creationId="{00000000-0000-0000-0000-000000000000}"/>
          </ac:spMkLst>
        </pc:spChg>
        <pc:spChg chg="mod">
          <ac:chgData name="Menzel, Oscar" userId="c07821de-8790-4c5d-acb5-8f5e137d852d" providerId="ADAL" clId="{072A70F3-40C3-4BE7-981D-DC725D480583}" dt="2021-05-02T13:31:42.109" v="4" actId="478"/>
          <ac:spMkLst>
            <pc:docMk/>
            <pc:sldMk cId="1783838724" sldId="320"/>
            <ac:spMk id="135" creationId="{00000000-0000-0000-0000-000000000000}"/>
          </ac:spMkLst>
        </pc:spChg>
        <pc:spChg chg="del mod">
          <ac:chgData name="Menzel, Oscar" userId="c07821de-8790-4c5d-acb5-8f5e137d852d" providerId="ADAL" clId="{072A70F3-40C3-4BE7-981D-DC725D480583}" dt="2021-05-02T13:31:50.517" v="6" actId="478"/>
          <ac:spMkLst>
            <pc:docMk/>
            <pc:sldMk cId="1783838724" sldId="320"/>
            <ac:spMk id="272" creationId="{00000000-0000-0000-0000-000000000000}"/>
          </ac:spMkLst>
        </pc:spChg>
        <pc:grpChg chg="mod">
          <ac:chgData name="Menzel, Oscar" userId="c07821de-8790-4c5d-acb5-8f5e137d852d" providerId="ADAL" clId="{072A70F3-40C3-4BE7-981D-DC725D480583}" dt="2021-05-02T13:31:42.109" v="4" actId="478"/>
          <ac:grpSpMkLst>
            <pc:docMk/>
            <pc:sldMk cId="1783838724" sldId="320"/>
            <ac:grpSpMk id="104" creationId="{00000000-0000-0000-0000-000000000000}"/>
          </ac:grpSpMkLst>
        </pc:grpChg>
        <pc:grpChg chg="mod">
          <ac:chgData name="Menzel, Oscar" userId="c07821de-8790-4c5d-acb5-8f5e137d852d" providerId="ADAL" clId="{072A70F3-40C3-4BE7-981D-DC725D480583}" dt="2021-05-02T13:31:42.109" v="4" actId="478"/>
          <ac:grpSpMkLst>
            <pc:docMk/>
            <pc:sldMk cId="1783838724" sldId="320"/>
            <ac:grpSpMk id="105" creationId="{00000000-0000-0000-0000-000000000000}"/>
          </ac:grpSpMkLst>
        </pc:grpChg>
        <pc:grpChg chg="mod">
          <ac:chgData name="Menzel, Oscar" userId="c07821de-8790-4c5d-acb5-8f5e137d852d" providerId="ADAL" clId="{072A70F3-40C3-4BE7-981D-DC725D480583}" dt="2021-05-02T13:31:42.109" v="4" actId="478"/>
          <ac:grpSpMkLst>
            <pc:docMk/>
            <pc:sldMk cId="1783838724" sldId="320"/>
            <ac:grpSpMk id="106" creationId="{00000000-0000-0000-0000-000000000000}"/>
          </ac:grpSpMkLst>
        </pc:grpChg>
        <pc:grpChg chg="mod">
          <ac:chgData name="Menzel, Oscar" userId="c07821de-8790-4c5d-acb5-8f5e137d852d" providerId="ADAL" clId="{072A70F3-40C3-4BE7-981D-DC725D480583}" dt="2021-05-01T14:59:31.471" v="2" actId="1076"/>
          <ac:grpSpMkLst>
            <pc:docMk/>
            <pc:sldMk cId="1783838724" sldId="320"/>
            <ac:grpSpMk id="249" creationId="{00000000-0000-0000-0000-000000000000}"/>
          </ac:grpSpMkLst>
        </pc:grpChg>
      </pc:sldChg>
    </pc:docChg>
  </pc:docChgLst>
  <pc:docChgLst>
    <pc:chgData name="Borchardt, Dennis" userId="12b3e610-e31c-4d88-bffd-c0c95052e528" providerId="ADAL" clId="{BFDFF0EA-E78A-4EA3-AFF6-1F72495BB4D8}"/>
    <pc:docChg chg="modSld">
      <pc:chgData name="Borchardt, Dennis" userId="12b3e610-e31c-4d88-bffd-c0c95052e528" providerId="ADAL" clId="{BFDFF0EA-E78A-4EA3-AFF6-1F72495BB4D8}" dt="2022-01-03T08:36:14.001" v="0" actId="1076"/>
      <pc:docMkLst>
        <pc:docMk/>
      </pc:docMkLst>
      <pc:sldChg chg="modSp mod">
        <pc:chgData name="Borchardt, Dennis" userId="12b3e610-e31c-4d88-bffd-c0c95052e528" providerId="ADAL" clId="{BFDFF0EA-E78A-4EA3-AFF6-1F72495BB4D8}" dt="2022-01-03T08:36:14.001" v="0" actId="1076"/>
        <pc:sldMkLst>
          <pc:docMk/>
          <pc:sldMk cId="4165918066" sldId="329"/>
        </pc:sldMkLst>
        <pc:spChg chg="mod">
          <ac:chgData name="Borchardt, Dennis" userId="12b3e610-e31c-4d88-bffd-c0c95052e528" providerId="ADAL" clId="{BFDFF0EA-E78A-4EA3-AFF6-1F72495BB4D8}" dt="2022-01-03T08:36:14.001" v="0" actId="1076"/>
          <ac:spMkLst>
            <pc:docMk/>
            <pc:sldMk cId="4165918066" sldId="329"/>
            <ac:spMk id="6" creationId="{00000000-0000-0000-0000-000000000000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2"/>
          <p:cNvSpPr>
            <a:spLocks noGrp="1"/>
          </p:cNvSpPr>
          <p:nvPr>
            <p:ph type="dt" idx="1"/>
          </p:nvPr>
        </p:nvSpPr>
        <p:spPr>
          <a:xfrm>
            <a:off x="333590" y="9576951"/>
            <a:ext cx="709886" cy="1384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algn="l">
              <a:defRPr sz="900">
                <a:latin typeface="+mj-lt"/>
              </a:defRPr>
            </a:lvl1pPr>
          </a:lstStyle>
          <a:p>
            <a:fld id="{56B1D6A0-B199-4BE9-8871-68D3671DF234}" type="datetimeFigureOut">
              <a:rPr lang="de-DE" smtClean="0"/>
              <a:pPr/>
              <a:t>08.01.2022</a:t>
            </a:fld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3"/>
          </p:nvPr>
        </p:nvSpPr>
        <p:spPr>
          <a:xfrm>
            <a:off x="5754199" y="9588829"/>
            <a:ext cx="713746" cy="1384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900" b="1">
                <a:solidFill>
                  <a:schemeClr val="accent2"/>
                </a:solidFill>
                <a:latin typeface="+mj-lt"/>
              </a:defRPr>
            </a:lvl1pPr>
          </a:lstStyle>
          <a:p>
            <a:r>
              <a:rPr lang="de-DE" dirty="0"/>
              <a:t>Seite </a:t>
            </a:r>
            <a:fld id="{3695953A-7051-472F-A115-FF03055D9F32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900190" y="234000"/>
            <a:ext cx="571087" cy="6254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5139321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3127" userDrawn="1">
          <p15:clr>
            <a:srgbClr val="F26B43"/>
          </p15:clr>
        </p15:guide>
        <p15:guide id="2" pos="210" userDrawn="1">
          <p15:clr>
            <a:srgbClr val="F26B43"/>
          </p15:clr>
        </p15:guide>
        <p15:guide id="3" pos="4077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33590" y="9576951"/>
            <a:ext cx="709886" cy="1384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algn="l">
              <a:defRPr sz="900">
                <a:latin typeface="+mj-lt"/>
              </a:defRPr>
            </a:lvl1pPr>
          </a:lstStyle>
          <a:p>
            <a:fld id="{56B1D6A0-B199-4BE9-8871-68D3671DF234}" type="datetimeFigureOut">
              <a:rPr lang="de-DE" smtClean="0"/>
              <a:pPr/>
              <a:t>08.01.2022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1275" y="1027113"/>
            <a:ext cx="6718300" cy="37798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333589" y="5129785"/>
            <a:ext cx="6134356" cy="4212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754199" y="9588829"/>
            <a:ext cx="713746" cy="1384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900" b="1">
                <a:solidFill>
                  <a:schemeClr val="accent2"/>
                </a:solidFill>
                <a:latin typeface="+mj-lt"/>
              </a:defRPr>
            </a:lvl1pPr>
          </a:lstStyle>
          <a:p>
            <a:r>
              <a:rPr lang="de-DE" dirty="0"/>
              <a:t>Seite </a:t>
            </a:r>
            <a:fld id="{3695953A-7051-472F-A115-FF03055D9F32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900190" y="234000"/>
            <a:ext cx="571087" cy="6254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481757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Bef>
        <a:spcPts val="1200"/>
      </a:spcBef>
      <a:defRPr sz="1200" b="1" kern="1200">
        <a:solidFill>
          <a:schemeClr val="accent2"/>
        </a:solidFill>
        <a:latin typeface="+mj-lt"/>
        <a:ea typeface="+mn-ea"/>
        <a:cs typeface="+mn-cs"/>
      </a:defRPr>
    </a:lvl1pPr>
    <a:lvl2pPr marL="0" indent="0" algn="l" defTabSz="914400" rtl="0" eaLnBrk="1" latinLnBrk="0" hangingPunct="1">
      <a:spcBef>
        <a:spcPts val="600"/>
      </a:spcBef>
      <a:defRPr sz="1200" kern="1200">
        <a:solidFill>
          <a:schemeClr val="tx1"/>
        </a:solidFill>
        <a:latin typeface="+mj-lt"/>
        <a:ea typeface="+mn-ea"/>
        <a:cs typeface="+mn-cs"/>
      </a:defRPr>
    </a:lvl2pPr>
    <a:lvl3pPr marL="180000" indent="-180000" algn="l" defTabSz="914400" rtl="0" eaLnBrk="1" latinLnBrk="0" hangingPunct="1">
      <a:spcBef>
        <a:spcPts val="300"/>
      </a:spcBef>
      <a:buClr>
        <a:schemeClr val="accent2"/>
      </a:buClr>
      <a:buFont typeface="DFB Sans Ofc" panose="020B0503030500020204"/>
      <a:buChar char="›"/>
      <a:defRPr sz="1200" kern="1200">
        <a:solidFill>
          <a:schemeClr val="tx1"/>
        </a:solidFill>
        <a:latin typeface="+mj-lt"/>
        <a:ea typeface="+mn-ea"/>
        <a:cs typeface="+mn-cs"/>
      </a:defRPr>
    </a:lvl3pPr>
    <a:lvl4pPr marL="360000" indent="-180000" algn="l" defTabSz="914400" rtl="0" eaLnBrk="1" latinLnBrk="0" hangingPunct="1">
      <a:spcBef>
        <a:spcPts val="300"/>
      </a:spcBef>
      <a:buClr>
        <a:schemeClr val="accent2"/>
      </a:buClr>
      <a:buFont typeface="DFB Sans Ofc" panose="020B0503030500020204"/>
      <a:buChar char="›"/>
      <a:defRPr sz="1200" kern="1200">
        <a:solidFill>
          <a:schemeClr val="tx1"/>
        </a:solidFill>
        <a:latin typeface="+mj-lt"/>
        <a:ea typeface="+mn-ea"/>
        <a:cs typeface="+mn-cs"/>
      </a:defRPr>
    </a:lvl4pPr>
    <a:lvl5pPr marL="270000" indent="-270000" algn="l" defTabSz="914400" rtl="0" eaLnBrk="1" latinLnBrk="0" hangingPunct="1">
      <a:spcBef>
        <a:spcPts val="600"/>
      </a:spcBef>
      <a:buClr>
        <a:schemeClr val="accent2"/>
      </a:buClr>
      <a:buFont typeface="Arial" panose="020B0604020202020204" pitchFamily="34" charset="0"/>
      <a:buChar char="→"/>
      <a:defRPr sz="1200" kern="1200">
        <a:solidFill>
          <a:schemeClr val="tx1"/>
        </a:solidFill>
        <a:latin typeface="+mj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3127" userDrawn="1">
          <p15:clr>
            <a:srgbClr val="F26B43"/>
          </p15:clr>
        </p15:guide>
        <p15:guide id="3" pos="2121" userDrawn="1">
          <p15:clr>
            <a:srgbClr val="F26B43"/>
          </p15:clr>
        </p15:guide>
        <p15:guide id="4" pos="210" userDrawn="1">
          <p15:clr>
            <a:srgbClr val="F26B43"/>
          </p15:clr>
        </p15:guide>
        <p15:guide id="5" pos="4077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 dirty="0"/>
              <a:t>Seite </a:t>
            </a:r>
            <a:fld id="{3695953A-7051-472F-A115-FF03055D9F32}" type="slidenum">
              <a:rPr lang="de-DE" smtClean="0"/>
              <a:pPr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680870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ohne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">
          <a:xfrm>
            <a:off x="444843" y="3756944"/>
            <a:ext cx="11301057" cy="1025922"/>
          </a:xfrm>
        </p:spPr>
        <p:txBody>
          <a:bodyPr anchor="b" anchorCtr="0"/>
          <a:lstStyle>
            <a:lvl1pPr>
              <a:lnSpc>
                <a:spcPts val="4000"/>
              </a:lnSpc>
              <a:defRPr sz="3699" baseline="0"/>
            </a:lvl1pPr>
          </a:lstStyle>
          <a:p>
            <a:r>
              <a:rPr lang="de-DE" noProof="0" dirty="0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>
          <a:xfrm>
            <a:off x="444843" y="4981934"/>
            <a:ext cx="11301057" cy="256480"/>
          </a:xfrm>
        </p:spPr>
        <p:txBody>
          <a:bodyPr>
            <a:spAutoFit/>
          </a:bodyPr>
          <a:lstStyle>
            <a:lvl1pPr marL="0" indent="0" algn="l">
              <a:spcBef>
                <a:spcPts val="0"/>
              </a:spcBef>
              <a:buNone/>
              <a:defRPr b="1" i="0" cap="all" spc="230" baseline="0">
                <a:solidFill>
                  <a:schemeClr val="tx1"/>
                </a:solidFill>
              </a:defRPr>
            </a:lvl1pPr>
            <a:lvl2pPr marL="4570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 dirty="0"/>
              <a:t>Formatvorlage des Untertitelmasters durch Klicken bearbeiten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/>
          </p:nvPr>
        </p:nvSpPr>
        <p:spPr bwMode="gray">
          <a:xfrm>
            <a:off x="444843" y="5428557"/>
            <a:ext cx="11301057" cy="205184"/>
          </a:xfrm>
        </p:spPr>
        <p:txBody>
          <a:bodyPr/>
          <a:lstStyle>
            <a:lvl1pPr marL="0" indent="0">
              <a:lnSpc>
                <a:spcPts val="1600"/>
              </a:lnSpc>
              <a:spcBef>
                <a:spcPts val="100"/>
              </a:spcBef>
              <a:buFont typeface="+mj-lt"/>
              <a:buNone/>
              <a:defRPr sz="1200" b="1">
                <a:solidFill>
                  <a:schemeClr val="tx1"/>
                </a:solidFill>
              </a:defRPr>
            </a:lvl1pPr>
            <a:lvl2pPr>
              <a:lnSpc>
                <a:spcPts val="1600"/>
              </a:lnSpc>
              <a:spcBef>
                <a:spcPts val="100"/>
              </a:spcBef>
              <a:defRPr sz="1200" b="0">
                <a:solidFill>
                  <a:schemeClr val="tx1"/>
                </a:solidFill>
              </a:defRPr>
            </a:lvl2pPr>
            <a:lvl3pPr marL="0" indent="0">
              <a:lnSpc>
                <a:spcPts val="1600"/>
              </a:lnSpc>
              <a:buNone/>
              <a:defRPr sz="1200"/>
            </a:lvl3pPr>
          </a:lstStyle>
          <a:p>
            <a:pPr lvl="0"/>
            <a:r>
              <a:rPr lang="de-DE" noProof="0" dirty="0"/>
              <a:t>Formatvorlagen des Textmasters bearbeiten</a:t>
            </a:r>
          </a:p>
        </p:txBody>
      </p:sp>
      <p:pic>
        <p:nvPicPr>
          <p:cNvPr id="4" name="Grafik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466164" y="563254"/>
            <a:ext cx="1259672" cy="1370141"/>
          </a:xfrm>
          <a:prstGeom prst="rect">
            <a:avLst/>
          </a:prstGeom>
        </p:spPr>
      </p:pic>
      <p:grpSp>
        <p:nvGrpSpPr>
          <p:cNvPr id="18" name="Gruppieren 17"/>
          <p:cNvGrpSpPr/>
          <p:nvPr userDrawn="1"/>
        </p:nvGrpSpPr>
        <p:grpSpPr bwMode="gray">
          <a:xfrm>
            <a:off x="449295" y="-153684"/>
            <a:ext cx="11297861" cy="108000"/>
            <a:chOff x="449412" y="0"/>
            <a:chExt cx="11300803" cy="108000"/>
          </a:xfrm>
        </p:grpSpPr>
        <p:sp>
          <p:nvSpPr>
            <p:cNvPr id="20" name="Freihandform: Form 19"/>
            <p:cNvSpPr/>
            <p:nvPr userDrawn="1"/>
          </p:nvSpPr>
          <p:spPr bwMode="gray">
            <a:xfrm>
              <a:off x="449412" y="0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  <p:sp>
          <p:nvSpPr>
            <p:cNvPr id="21" name="Freihandform: Form 20"/>
            <p:cNvSpPr/>
            <p:nvPr userDrawn="1"/>
          </p:nvSpPr>
          <p:spPr bwMode="gray">
            <a:xfrm>
              <a:off x="5950099" y="0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  <p:sp>
          <p:nvSpPr>
            <p:cNvPr id="22" name="Freihandform: Form 21"/>
            <p:cNvSpPr/>
            <p:nvPr userDrawn="1"/>
          </p:nvSpPr>
          <p:spPr bwMode="gray">
            <a:xfrm>
              <a:off x="6242050" y="0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  <p:sp>
          <p:nvSpPr>
            <p:cNvPr id="23" name="Freihandform: Form 22"/>
            <p:cNvSpPr/>
            <p:nvPr userDrawn="1"/>
          </p:nvSpPr>
          <p:spPr bwMode="gray">
            <a:xfrm>
              <a:off x="11750215" y="0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</p:grpSp>
      <p:grpSp>
        <p:nvGrpSpPr>
          <p:cNvPr id="24" name="Gruppieren 23"/>
          <p:cNvGrpSpPr/>
          <p:nvPr userDrawn="1"/>
        </p:nvGrpSpPr>
        <p:grpSpPr bwMode="gray">
          <a:xfrm>
            <a:off x="449295" y="6903684"/>
            <a:ext cx="11297861" cy="108000"/>
            <a:chOff x="449412" y="0"/>
            <a:chExt cx="11300803" cy="108000"/>
          </a:xfrm>
        </p:grpSpPr>
        <p:sp>
          <p:nvSpPr>
            <p:cNvPr id="26" name="Freihandform: Form 25"/>
            <p:cNvSpPr/>
            <p:nvPr userDrawn="1"/>
          </p:nvSpPr>
          <p:spPr bwMode="gray">
            <a:xfrm>
              <a:off x="449412" y="0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  <p:sp>
          <p:nvSpPr>
            <p:cNvPr id="27" name="Freihandform: Form 26"/>
            <p:cNvSpPr/>
            <p:nvPr userDrawn="1"/>
          </p:nvSpPr>
          <p:spPr bwMode="gray">
            <a:xfrm>
              <a:off x="5950099" y="0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  <p:sp>
          <p:nvSpPr>
            <p:cNvPr id="28" name="Freihandform: Form 27"/>
            <p:cNvSpPr/>
            <p:nvPr userDrawn="1"/>
          </p:nvSpPr>
          <p:spPr bwMode="gray">
            <a:xfrm>
              <a:off x="6242050" y="0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  <p:sp>
          <p:nvSpPr>
            <p:cNvPr id="29" name="Freihandform: Form 28"/>
            <p:cNvSpPr/>
            <p:nvPr userDrawn="1"/>
          </p:nvSpPr>
          <p:spPr bwMode="gray">
            <a:xfrm>
              <a:off x="11750215" y="0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</p:grpSp>
      <p:grpSp>
        <p:nvGrpSpPr>
          <p:cNvPr id="30" name="Gruppieren 29"/>
          <p:cNvGrpSpPr/>
          <p:nvPr userDrawn="1"/>
        </p:nvGrpSpPr>
        <p:grpSpPr>
          <a:xfrm>
            <a:off x="-149354" y="1664804"/>
            <a:ext cx="107973" cy="4500500"/>
            <a:chOff x="-149393" y="1664804"/>
            <a:chExt cx="108001" cy="4500500"/>
          </a:xfrm>
        </p:grpSpPr>
        <p:sp>
          <p:nvSpPr>
            <p:cNvPr id="31" name="Freihandform: Form 30"/>
            <p:cNvSpPr/>
            <p:nvPr userDrawn="1"/>
          </p:nvSpPr>
          <p:spPr>
            <a:xfrm rot="16200000">
              <a:off x="-95392" y="6111304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  <p:sp>
          <p:nvSpPr>
            <p:cNvPr id="32" name="Freihandform: Form 31"/>
            <p:cNvSpPr/>
            <p:nvPr userDrawn="1"/>
          </p:nvSpPr>
          <p:spPr>
            <a:xfrm rot="16200000">
              <a:off x="-95393" y="1610804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</p:grpSp>
      <p:grpSp>
        <p:nvGrpSpPr>
          <p:cNvPr id="33" name="Gruppieren 32"/>
          <p:cNvGrpSpPr/>
          <p:nvPr userDrawn="1"/>
        </p:nvGrpSpPr>
        <p:grpSpPr bwMode="gray">
          <a:xfrm>
            <a:off x="12233381" y="1664804"/>
            <a:ext cx="107973" cy="4500500"/>
            <a:chOff x="-149393" y="1664804"/>
            <a:chExt cx="108001" cy="4500500"/>
          </a:xfrm>
        </p:grpSpPr>
        <p:sp>
          <p:nvSpPr>
            <p:cNvPr id="34" name="Freihandform: Form 33"/>
            <p:cNvSpPr/>
            <p:nvPr userDrawn="1"/>
          </p:nvSpPr>
          <p:spPr bwMode="gray">
            <a:xfrm rot="16200000">
              <a:off x="-95392" y="6111304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  <p:sp>
          <p:nvSpPr>
            <p:cNvPr id="35" name="Freihandform: Form 34"/>
            <p:cNvSpPr/>
            <p:nvPr userDrawn="1"/>
          </p:nvSpPr>
          <p:spPr bwMode="gray">
            <a:xfrm rot="16200000">
              <a:off x="-95393" y="1610804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</p:grpSp>
      <p:sp>
        <p:nvSpPr>
          <p:cNvPr id="54" name="Freihandform: Form 53"/>
          <p:cNvSpPr/>
          <p:nvPr userDrawn="1"/>
        </p:nvSpPr>
        <p:spPr bwMode="gray">
          <a:xfrm>
            <a:off x="2230292" y="0"/>
            <a:ext cx="7719990" cy="3196710"/>
          </a:xfrm>
          <a:custGeom>
            <a:avLst/>
            <a:gdLst>
              <a:gd name="connsiteX0" fmla="*/ 2501972 w 7722000"/>
              <a:gd name="connsiteY0" fmla="*/ 2484000 h 3196710"/>
              <a:gd name="connsiteX1" fmla="*/ 2519416 w 7722000"/>
              <a:gd name="connsiteY1" fmla="*/ 2507328 h 3196710"/>
              <a:gd name="connsiteX2" fmla="*/ 3866714 w 7722000"/>
              <a:gd name="connsiteY2" fmla="*/ 3142710 h 3196710"/>
              <a:gd name="connsiteX3" fmla="*/ 5214013 w 7722000"/>
              <a:gd name="connsiteY3" fmla="*/ 2507328 h 3196710"/>
              <a:gd name="connsiteX4" fmla="*/ 5231457 w 7722000"/>
              <a:gd name="connsiteY4" fmla="*/ 2484000 h 3196710"/>
              <a:gd name="connsiteX5" fmla="*/ 2055661 w 7722000"/>
              <a:gd name="connsiteY5" fmla="*/ 0 h 3196710"/>
              <a:gd name="connsiteX6" fmla="*/ 2109661 w 7722000"/>
              <a:gd name="connsiteY6" fmla="*/ 0 h 3196710"/>
              <a:gd name="connsiteX7" fmla="*/ 2109661 w 7722000"/>
              <a:gd name="connsiteY7" fmla="*/ 252000 h 3196710"/>
              <a:gd name="connsiteX8" fmla="*/ 5601661 w 7722000"/>
              <a:gd name="connsiteY8" fmla="*/ 252000 h 3196710"/>
              <a:gd name="connsiteX9" fmla="*/ 5601661 w 7722000"/>
              <a:gd name="connsiteY9" fmla="*/ 0 h 3196710"/>
              <a:gd name="connsiteX10" fmla="*/ 5655661 w 7722000"/>
              <a:gd name="connsiteY10" fmla="*/ 0 h 3196710"/>
              <a:gd name="connsiteX11" fmla="*/ 5655661 w 7722000"/>
              <a:gd name="connsiteY11" fmla="*/ 306000 h 3196710"/>
              <a:gd name="connsiteX12" fmla="*/ 2055661 w 7722000"/>
              <a:gd name="connsiteY12" fmla="*/ 306000 h 3196710"/>
              <a:gd name="connsiteX13" fmla="*/ 0 w 7722000"/>
              <a:gd name="connsiteY13" fmla="*/ 0 h 3196710"/>
              <a:gd name="connsiteX14" fmla="*/ 54000 w 7722000"/>
              <a:gd name="connsiteY14" fmla="*/ 0 h 3196710"/>
              <a:gd name="connsiteX15" fmla="*/ 54000 w 7722000"/>
              <a:gd name="connsiteY15" fmla="*/ 2430000 h 3196710"/>
              <a:gd name="connsiteX16" fmla="*/ 7668000 w 7722000"/>
              <a:gd name="connsiteY16" fmla="*/ 2430000 h 3196710"/>
              <a:gd name="connsiteX17" fmla="*/ 7668000 w 7722000"/>
              <a:gd name="connsiteY17" fmla="*/ 0 h 3196710"/>
              <a:gd name="connsiteX18" fmla="*/ 7722000 w 7722000"/>
              <a:gd name="connsiteY18" fmla="*/ 0 h 3196710"/>
              <a:gd name="connsiteX19" fmla="*/ 7722000 w 7722000"/>
              <a:gd name="connsiteY19" fmla="*/ 2484000 h 3196710"/>
              <a:gd name="connsiteX20" fmla="*/ 5298813 w 7722000"/>
              <a:gd name="connsiteY20" fmla="*/ 2484000 h 3196710"/>
              <a:gd name="connsiteX21" fmla="*/ 5255682 w 7722000"/>
              <a:gd name="connsiteY21" fmla="*/ 2541677 h 3196710"/>
              <a:gd name="connsiteX22" fmla="*/ 3866714 w 7722000"/>
              <a:gd name="connsiteY22" fmla="*/ 3196710 h 3196710"/>
              <a:gd name="connsiteX23" fmla="*/ 2477747 w 7722000"/>
              <a:gd name="connsiteY23" fmla="*/ 2541677 h 3196710"/>
              <a:gd name="connsiteX24" fmla="*/ 2434617 w 7722000"/>
              <a:gd name="connsiteY24" fmla="*/ 2484000 h 3196710"/>
              <a:gd name="connsiteX25" fmla="*/ 0 w 7722000"/>
              <a:gd name="connsiteY25" fmla="*/ 2484000 h 31967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7722000" h="3196710">
                <a:moveTo>
                  <a:pt x="2501972" y="2484000"/>
                </a:moveTo>
                <a:lnTo>
                  <a:pt x="2519416" y="2507328"/>
                </a:lnTo>
                <a:cubicBezTo>
                  <a:pt x="2839658" y="2895372"/>
                  <a:pt x="3324302" y="3142710"/>
                  <a:pt x="3866714" y="3142710"/>
                </a:cubicBezTo>
                <a:cubicBezTo>
                  <a:pt x="4409127" y="3142710"/>
                  <a:pt x="4893771" y="2895372"/>
                  <a:pt x="5214013" y="2507328"/>
                </a:cubicBezTo>
                <a:lnTo>
                  <a:pt x="5231457" y="2484000"/>
                </a:lnTo>
                <a:close/>
                <a:moveTo>
                  <a:pt x="2055661" y="0"/>
                </a:moveTo>
                <a:lnTo>
                  <a:pt x="2109661" y="0"/>
                </a:lnTo>
                <a:lnTo>
                  <a:pt x="2109661" y="252000"/>
                </a:lnTo>
                <a:lnTo>
                  <a:pt x="5601661" y="252000"/>
                </a:lnTo>
                <a:lnTo>
                  <a:pt x="5601661" y="0"/>
                </a:lnTo>
                <a:lnTo>
                  <a:pt x="5655661" y="0"/>
                </a:lnTo>
                <a:lnTo>
                  <a:pt x="5655661" y="306000"/>
                </a:lnTo>
                <a:lnTo>
                  <a:pt x="2055661" y="306000"/>
                </a:lnTo>
                <a:close/>
                <a:moveTo>
                  <a:pt x="0" y="0"/>
                </a:moveTo>
                <a:lnTo>
                  <a:pt x="54000" y="0"/>
                </a:lnTo>
                <a:lnTo>
                  <a:pt x="54000" y="2430000"/>
                </a:lnTo>
                <a:lnTo>
                  <a:pt x="7668000" y="2430000"/>
                </a:lnTo>
                <a:lnTo>
                  <a:pt x="7668000" y="0"/>
                </a:lnTo>
                <a:lnTo>
                  <a:pt x="7722000" y="0"/>
                </a:lnTo>
                <a:lnTo>
                  <a:pt x="7722000" y="2484000"/>
                </a:lnTo>
                <a:lnTo>
                  <a:pt x="5298813" y="2484000"/>
                </a:lnTo>
                <a:lnTo>
                  <a:pt x="5255682" y="2541677"/>
                </a:lnTo>
                <a:cubicBezTo>
                  <a:pt x="4925536" y="2941722"/>
                  <a:pt x="4425903" y="3196710"/>
                  <a:pt x="3866714" y="3196710"/>
                </a:cubicBezTo>
                <a:cubicBezTo>
                  <a:pt x="3307526" y="3196710"/>
                  <a:pt x="2807893" y="2941722"/>
                  <a:pt x="2477747" y="2541677"/>
                </a:cubicBezTo>
                <a:lnTo>
                  <a:pt x="2434617" y="2484000"/>
                </a:lnTo>
                <a:lnTo>
                  <a:pt x="0" y="248400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799" dirty="0"/>
          </a:p>
        </p:txBody>
      </p:sp>
      <p:sp>
        <p:nvSpPr>
          <p:cNvPr id="25" name="Textplatzhalter 9"/>
          <p:cNvSpPr>
            <a:spLocks noGrp="1"/>
          </p:cNvSpPr>
          <p:nvPr>
            <p:ph type="body" sz="quarter" idx="11"/>
          </p:nvPr>
        </p:nvSpPr>
        <p:spPr bwMode="gray">
          <a:xfrm>
            <a:off x="444843" y="5613429"/>
            <a:ext cx="11301057" cy="205184"/>
          </a:xfrm>
        </p:spPr>
        <p:txBody>
          <a:bodyPr/>
          <a:lstStyle>
            <a:lvl1pPr marL="0" indent="0">
              <a:lnSpc>
                <a:spcPts val="1600"/>
              </a:lnSpc>
              <a:spcBef>
                <a:spcPts val="100"/>
              </a:spcBef>
              <a:buFont typeface="+mj-lt"/>
              <a:buNone/>
              <a:defRPr sz="1200" b="1">
                <a:solidFill>
                  <a:schemeClr val="tx1"/>
                </a:solidFill>
              </a:defRPr>
            </a:lvl1pPr>
            <a:lvl2pPr>
              <a:lnSpc>
                <a:spcPts val="1600"/>
              </a:lnSpc>
              <a:spcBef>
                <a:spcPts val="100"/>
              </a:spcBef>
              <a:defRPr sz="1200" b="0">
                <a:solidFill>
                  <a:schemeClr val="tx1"/>
                </a:solidFill>
              </a:defRPr>
            </a:lvl2pPr>
            <a:lvl3pPr marL="0" indent="0">
              <a:lnSpc>
                <a:spcPts val="1600"/>
              </a:lnSpc>
              <a:buNone/>
              <a:defRPr sz="1200"/>
            </a:lvl3pPr>
          </a:lstStyle>
          <a:p>
            <a:pPr lvl="0"/>
            <a:r>
              <a:rPr lang="de-DE" noProof="0" dirty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189229773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444843" y="712800"/>
            <a:ext cx="10113366" cy="743793"/>
          </a:xfrm>
        </p:spPr>
        <p:txBody>
          <a:bodyPr/>
          <a:lstStyle/>
          <a:p>
            <a:r>
              <a:rPr lang="de-DE" noProof="0" dirty="0"/>
              <a:t>Titelmasterformat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A4171974-4E80-4652-BD21-C9AF83782833}" type="datetime1">
              <a:rPr lang="de-DE" noProof="0" smtClean="0"/>
              <a:t>08.01.2022</a:t>
            </a:fld>
            <a:endParaRPr lang="de-DE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 noProof="0" dirty="0"/>
              <a:t>/  Styleguide, Musterfolien für Präsentation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de-DE" noProof="0" dirty="0"/>
              <a:t>Seite </a:t>
            </a:r>
            <a:fld id="{105F6080-11B6-4F5B-BFCF-ADAD48E4948B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 bwMode="gray">
          <a:xfrm>
            <a:off x="444842" y="1616607"/>
            <a:ext cx="5506566" cy="1641475"/>
          </a:xfrm>
        </p:spPr>
        <p:txBody>
          <a:bodyPr/>
          <a:lstStyle>
            <a:lvl4pPr>
              <a:defRPr/>
            </a:lvl4pPr>
          </a:lstStyle>
          <a:p>
            <a:pPr lvl="0"/>
            <a:r>
              <a:rPr lang="de-DE" noProof="0" dirty="0"/>
              <a:t>Formatvorlagen des Textmasters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13" name="Bildplatzhalter 8"/>
          <p:cNvSpPr>
            <a:spLocks noGrp="1"/>
          </p:cNvSpPr>
          <p:nvPr>
            <p:ph type="pic" sz="quarter" idx="17"/>
          </p:nvPr>
        </p:nvSpPr>
        <p:spPr bwMode="gray">
          <a:xfrm>
            <a:off x="6242805" y="1665288"/>
            <a:ext cx="5506566" cy="4500562"/>
          </a:xfrm>
          <a:noFill/>
        </p:spPr>
        <p:txBody>
          <a:bodyPr tIns="72000">
            <a:noAutofit/>
          </a:bodyPr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endParaRPr lang="de-DE" noProof="0" dirty="0"/>
          </a:p>
        </p:txBody>
      </p:sp>
      <p:sp>
        <p:nvSpPr>
          <p:cNvPr id="14" name="Textplatzhalter 8"/>
          <p:cNvSpPr>
            <a:spLocks noGrp="1"/>
          </p:cNvSpPr>
          <p:nvPr>
            <p:ph type="body" sz="quarter" idx="18"/>
          </p:nvPr>
        </p:nvSpPr>
        <p:spPr bwMode="gray">
          <a:xfrm>
            <a:off x="444843" y="6019288"/>
            <a:ext cx="5506566" cy="192360"/>
          </a:xfrm>
        </p:spPr>
        <p:txBody>
          <a:bodyPr anchor="b" anchorCtr="0"/>
          <a:lstStyle>
            <a:lvl1pPr>
              <a:lnSpc>
                <a:spcPts val="1500"/>
              </a:lnSpc>
              <a:spcBef>
                <a:spcPts val="0"/>
              </a:spcBef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 dirty="0"/>
              <a:t>Formatvorlagen des Textmasters bearbeiten</a:t>
            </a:r>
          </a:p>
        </p:txBody>
      </p:sp>
      <p:sp>
        <p:nvSpPr>
          <p:cNvPr id="10" name="Textplatzhalt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444843" y="432000"/>
            <a:ext cx="10114504" cy="18466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200" b="1" u="sng" cap="all" spc="190" baseline="0">
                <a:solidFill>
                  <a:schemeClr val="tx1"/>
                </a:solidFill>
                <a:uFill>
                  <a:solidFill>
                    <a:schemeClr val="accent2"/>
                  </a:solidFill>
                </a:uFill>
              </a:defRPr>
            </a:lvl1pPr>
          </a:lstStyle>
          <a:p>
            <a:pPr lvl="0"/>
            <a:r>
              <a:rPr lang="de-DE" dirty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71282288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ilder mit Bildunt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444843" y="712800"/>
            <a:ext cx="10113366" cy="743793"/>
          </a:xfrm>
        </p:spPr>
        <p:txBody>
          <a:bodyPr/>
          <a:lstStyle/>
          <a:p>
            <a:r>
              <a:rPr lang="de-DE" noProof="0" dirty="0"/>
              <a:t>Titelmasterformat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C73E48CD-0C17-4186-8D35-C5AEF08AD373}" type="datetime1">
              <a:rPr lang="de-DE" noProof="0" smtClean="0"/>
              <a:t>08.01.2022</a:t>
            </a:fld>
            <a:endParaRPr lang="de-DE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 noProof="0" dirty="0"/>
              <a:t>/  Styleguide, Musterfolien für Präsentation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de-DE" noProof="0" dirty="0"/>
              <a:t>Seite </a:t>
            </a:r>
            <a:fld id="{105F6080-11B6-4F5B-BFCF-ADAD48E4948B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13" name="Bildplatzhalter 8"/>
          <p:cNvSpPr>
            <a:spLocks noGrp="1"/>
          </p:cNvSpPr>
          <p:nvPr>
            <p:ph type="pic" sz="quarter" idx="17"/>
          </p:nvPr>
        </p:nvSpPr>
        <p:spPr bwMode="gray">
          <a:xfrm>
            <a:off x="444843" y="1665288"/>
            <a:ext cx="2591563" cy="1908000"/>
          </a:xfrm>
          <a:noFill/>
        </p:spPr>
        <p:txBody>
          <a:bodyPr tIns="72000">
            <a:noAutofit/>
          </a:bodyPr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endParaRPr lang="de-DE" noProof="0" dirty="0"/>
          </a:p>
        </p:txBody>
      </p:sp>
      <p:sp>
        <p:nvSpPr>
          <p:cNvPr id="14" name="Textplatzhalter 8"/>
          <p:cNvSpPr>
            <a:spLocks noGrp="1"/>
          </p:cNvSpPr>
          <p:nvPr>
            <p:ph type="body" sz="quarter" idx="18"/>
          </p:nvPr>
        </p:nvSpPr>
        <p:spPr bwMode="gray">
          <a:xfrm>
            <a:off x="444843" y="3746216"/>
            <a:ext cx="2591325" cy="384721"/>
          </a:xfrm>
        </p:spPr>
        <p:txBody>
          <a:bodyPr anchor="t" anchorCtr="0"/>
          <a:lstStyle>
            <a:lvl1pPr>
              <a:lnSpc>
                <a:spcPts val="1500"/>
              </a:lnSpc>
              <a:spcBef>
                <a:spcPts val="0"/>
              </a:spcBef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 dirty="0"/>
              <a:t>Formatvorlagen des Textmasters bearbeiten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9"/>
          </p:nvPr>
        </p:nvSpPr>
        <p:spPr bwMode="gray">
          <a:xfrm>
            <a:off x="3348426" y="1665288"/>
            <a:ext cx="2591563" cy="1908000"/>
          </a:xfrm>
          <a:noFill/>
        </p:spPr>
        <p:txBody>
          <a:bodyPr tIns="72000">
            <a:noAutofit/>
          </a:bodyPr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endParaRPr lang="de-DE" noProof="0" dirty="0"/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20"/>
          </p:nvPr>
        </p:nvSpPr>
        <p:spPr bwMode="gray">
          <a:xfrm>
            <a:off x="6252009" y="1665288"/>
            <a:ext cx="2591563" cy="1908000"/>
          </a:xfrm>
          <a:noFill/>
        </p:spPr>
        <p:txBody>
          <a:bodyPr tIns="72000">
            <a:noAutofit/>
          </a:bodyPr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endParaRPr lang="de-DE" noProof="0" dirty="0"/>
          </a:p>
        </p:txBody>
      </p:sp>
      <p:sp>
        <p:nvSpPr>
          <p:cNvPr id="15" name="Bildplatzhalter 8"/>
          <p:cNvSpPr>
            <a:spLocks noGrp="1"/>
          </p:cNvSpPr>
          <p:nvPr>
            <p:ph type="pic" sz="quarter" idx="21"/>
          </p:nvPr>
        </p:nvSpPr>
        <p:spPr bwMode="gray">
          <a:xfrm>
            <a:off x="9155593" y="1665288"/>
            <a:ext cx="2591563" cy="1908000"/>
          </a:xfrm>
          <a:noFill/>
        </p:spPr>
        <p:txBody>
          <a:bodyPr tIns="72000">
            <a:noAutofit/>
          </a:bodyPr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endParaRPr lang="de-DE" noProof="0" dirty="0"/>
          </a:p>
        </p:txBody>
      </p:sp>
      <p:sp>
        <p:nvSpPr>
          <p:cNvPr id="16" name="Textplatzhalter 8"/>
          <p:cNvSpPr>
            <a:spLocks noGrp="1"/>
          </p:cNvSpPr>
          <p:nvPr>
            <p:ph type="body" sz="quarter" idx="22"/>
          </p:nvPr>
        </p:nvSpPr>
        <p:spPr bwMode="gray">
          <a:xfrm>
            <a:off x="3348426" y="3746216"/>
            <a:ext cx="2591325" cy="384721"/>
          </a:xfrm>
        </p:spPr>
        <p:txBody>
          <a:bodyPr anchor="t" anchorCtr="0"/>
          <a:lstStyle>
            <a:lvl1pPr>
              <a:lnSpc>
                <a:spcPts val="1500"/>
              </a:lnSpc>
              <a:spcBef>
                <a:spcPts val="0"/>
              </a:spcBef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 dirty="0"/>
              <a:t>Formatvorlagen des Textmasters bearbeiten</a:t>
            </a:r>
          </a:p>
        </p:txBody>
      </p:sp>
      <p:sp>
        <p:nvSpPr>
          <p:cNvPr id="17" name="Textplatzhalter 8"/>
          <p:cNvSpPr>
            <a:spLocks noGrp="1"/>
          </p:cNvSpPr>
          <p:nvPr>
            <p:ph type="body" sz="quarter" idx="23"/>
          </p:nvPr>
        </p:nvSpPr>
        <p:spPr bwMode="gray">
          <a:xfrm>
            <a:off x="6252009" y="3746216"/>
            <a:ext cx="2591325" cy="384721"/>
          </a:xfrm>
        </p:spPr>
        <p:txBody>
          <a:bodyPr anchor="t" anchorCtr="0"/>
          <a:lstStyle>
            <a:lvl1pPr>
              <a:lnSpc>
                <a:spcPts val="1500"/>
              </a:lnSpc>
              <a:spcBef>
                <a:spcPts val="0"/>
              </a:spcBef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 dirty="0"/>
              <a:t>Formatvorlagen des Textmasters bearbeiten</a:t>
            </a:r>
          </a:p>
        </p:txBody>
      </p:sp>
      <p:sp>
        <p:nvSpPr>
          <p:cNvPr id="18" name="Textplatzhalter 8"/>
          <p:cNvSpPr>
            <a:spLocks noGrp="1"/>
          </p:cNvSpPr>
          <p:nvPr>
            <p:ph type="body" sz="quarter" idx="24"/>
          </p:nvPr>
        </p:nvSpPr>
        <p:spPr bwMode="gray">
          <a:xfrm>
            <a:off x="9155593" y="3746216"/>
            <a:ext cx="2591325" cy="384721"/>
          </a:xfrm>
        </p:spPr>
        <p:txBody>
          <a:bodyPr anchor="t" anchorCtr="0"/>
          <a:lstStyle>
            <a:lvl1pPr>
              <a:lnSpc>
                <a:spcPts val="1500"/>
              </a:lnSpc>
              <a:spcBef>
                <a:spcPts val="0"/>
              </a:spcBef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 dirty="0"/>
              <a:t>Formatvorlagen des Textmasters bearbeiten</a:t>
            </a:r>
          </a:p>
        </p:txBody>
      </p:sp>
      <p:sp>
        <p:nvSpPr>
          <p:cNvPr id="19" name="Textplatzhalt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444843" y="432000"/>
            <a:ext cx="10114504" cy="18466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200" b="1" u="sng" cap="all" spc="190" baseline="0">
                <a:solidFill>
                  <a:schemeClr val="tx1"/>
                </a:solidFill>
                <a:uFill>
                  <a:solidFill>
                    <a:schemeClr val="accent2"/>
                  </a:solidFill>
                </a:uFill>
              </a:defRPr>
            </a:lvl1pPr>
          </a:lstStyle>
          <a:p>
            <a:pPr lvl="0"/>
            <a:r>
              <a:rPr lang="de-DE" dirty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230625911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0450881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1" name="think-cell Folie" r:id="rId4" imgW="276" imgH="275" progId="TCLayout.ActiveDocument.1">
                  <p:embed/>
                </p:oleObj>
              </mc:Choice>
              <mc:Fallback>
                <p:oleObj name="think-cell Folie" r:id="rId4" imgW="276" imgH="27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446284" y="712800"/>
            <a:ext cx="10113366" cy="743793"/>
          </a:xfrm>
        </p:spPr>
        <p:txBody>
          <a:bodyPr/>
          <a:lstStyle/>
          <a:p>
            <a:r>
              <a:rPr lang="de-DE" noProof="0" dirty="0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4D72CD49-7F43-47BB-982C-403E393FBCB0}" type="datetime1">
              <a:rPr lang="de-DE" noProof="0" smtClean="0"/>
              <a:t>08.01.2022</a:t>
            </a:fld>
            <a:endParaRPr lang="de-DE" noProof="0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 noProof="0" dirty="0"/>
              <a:t>/  Styleguide, Musterfolien für Präsentatione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de-DE" noProof="0" dirty="0"/>
              <a:t>Seite </a:t>
            </a:r>
            <a:fld id="{105F6080-11B6-4F5B-BFCF-ADAD48E4948B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7" name="Textplatzhalt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444843" y="432000"/>
            <a:ext cx="10114504" cy="18466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200" b="1" u="sng" cap="all" spc="190" baseline="0">
                <a:solidFill>
                  <a:schemeClr val="tx1"/>
                </a:solidFill>
                <a:uFill>
                  <a:solidFill>
                    <a:schemeClr val="accent2"/>
                  </a:solidFill>
                </a:uFill>
              </a:defRPr>
            </a:lvl1pPr>
          </a:lstStyle>
          <a:p>
            <a:pPr lvl="0"/>
            <a:r>
              <a:rPr lang="de-DE" dirty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231969381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446284" y="712800"/>
            <a:ext cx="10113366" cy="743793"/>
          </a:xfrm>
        </p:spPr>
        <p:txBody>
          <a:bodyPr/>
          <a:lstStyle/>
          <a:p>
            <a:r>
              <a:rPr lang="de-DE" noProof="0" dirty="0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45AD2FA3-BFB8-49D6-B1A8-30B06315D90A}" type="datetime1">
              <a:rPr lang="de-DE" noProof="0" smtClean="0"/>
              <a:t>08.01.2022</a:t>
            </a:fld>
            <a:endParaRPr lang="de-DE" noProof="0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 noProof="0" dirty="0"/>
              <a:t>/  Styleguide, Musterfolien für Präsentatione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de-DE" noProof="0" dirty="0"/>
              <a:t>Seite </a:t>
            </a:r>
            <a:fld id="{105F6080-11B6-4F5B-BFCF-ADAD48E4948B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7" name="Textplatzhalter 7"/>
          <p:cNvSpPr>
            <a:spLocks noGrp="1"/>
          </p:cNvSpPr>
          <p:nvPr>
            <p:ph type="body" sz="quarter" idx="13"/>
          </p:nvPr>
        </p:nvSpPr>
        <p:spPr bwMode="gray">
          <a:xfrm>
            <a:off x="446284" y="1616607"/>
            <a:ext cx="11299616" cy="24622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/>
            </a:lvl1pPr>
            <a:lvl4pPr>
              <a:defRPr/>
            </a:lvl4pPr>
          </a:lstStyle>
          <a:p>
            <a:pPr lvl="0"/>
            <a:r>
              <a:rPr lang="de-DE" noProof="0" dirty="0"/>
              <a:t>Formatvorlagen des Textmasters bearbeiten</a:t>
            </a:r>
          </a:p>
        </p:txBody>
      </p:sp>
      <p:sp>
        <p:nvSpPr>
          <p:cNvPr id="8" name="Textplatzhalter 9"/>
          <p:cNvSpPr>
            <a:spLocks noGrp="1"/>
          </p:cNvSpPr>
          <p:nvPr>
            <p:ph type="body" sz="quarter" idx="14"/>
          </p:nvPr>
        </p:nvSpPr>
        <p:spPr bwMode="gray">
          <a:xfrm>
            <a:off x="444843" y="1955217"/>
            <a:ext cx="11301057" cy="246221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+mj-lt"/>
              <a:buNone/>
              <a:defRPr sz="1600" b="0">
                <a:solidFill>
                  <a:schemeClr val="tx1"/>
                </a:solidFill>
              </a:defRPr>
            </a:lvl1pPr>
            <a:lvl2pPr>
              <a:lnSpc>
                <a:spcPts val="1600"/>
              </a:lnSpc>
              <a:spcBef>
                <a:spcPts val="100"/>
              </a:spcBef>
              <a:defRPr sz="1200" b="0">
                <a:solidFill>
                  <a:schemeClr val="tx1"/>
                </a:solidFill>
              </a:defRPr>
            </a:lvl2pPr>
            <a:lvl3pPr marL="0" indent="0">
              <a:lnSpc>
                <a:spcPts val="1600"/>
              </a:lnSpc>
              <a:buNone/>
              <a:defRPr sz="1200"/>
            </a:lvl3pPr>
          </a:lstStyle>
          <a:p>
            <a:pPr lvl="0"/>
            <a:r>
              <a:rPr lang="de-DE" noProof="0" dirty="0"/>
              <a:t>Formatvorlagen des Textmasters bearbeiten</a:t>
            </a:r>
          </a:p>
        </p:txBody>
      </p:sp>
      <p:sp>
        <p:nvSpPr>
          <p:cNvPr id="9" name="Textplatzhalter 9"/>
          <p:cNvSpPr>
            <a:spLocks noGrp="1"/>
          </p:cNvSpPr>
          <p:nvPr>
            <p:ph type="body" sz="quarter" idx="15"/>
          </p:nvPr>
        </p:nvSpPr>
        <p:spPr bwMode="gray">
          <a:xfrm>
            <a:off x="444843" y="2306140"/>
            <a:ext cx="11301057" cy="246221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+mj-lt"/>
              <a:buNone/>
              <a:defRPr sz="1600" b="0">
                <a:solidFill>
                  <a:schemeClr val="tx1"/>
                </a:solidFill>
              </a:defRPr>
            </a:lvl1pPr>
            <a:lvl2pPr>
              <a:lnSpc>
                <a:spcPts val="1600"/>
              </a:lnSpc>
              <a:spcBef>
                <a:spcPts val="100"/>
              </a:spcBef>
              <a:defRPr sz="1200" b="0">
                <a:solidFill>
                  <a:schemeClr val="tx1"/>
                </a:solidFill>
              </a:defRPr>
            </a:lvl2pPr>
            <a:lvl3pPr marL="0" indent="0">
              <a:lnSpc>
                <a:spcPts val="1600"/>
              </a:lnSpc>
              <a:buNone/>
              <a:defRPr sz="1200"/>
            </a:lvl3pPr>
          </a:lstStyle>
          <a:p>
            <a:pPr lvl="0"/>
            <a:r>
              <a:rPr lang="de-DE" noProof="0" dirty="0"/>
              <a:t>Formatvorlagen des Textmasters bearbeiten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6"/>
          </p:nvPr>
        </p:nvSpPr>
        <p:spPr bwMode="gray">
          <a:xfrm>
            <a:off x="444843" y="2560142"/>
            <a:ext cx="11301057" cy="246221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+mj-lt"/>
              <a:buNone/>
              <a:defRPr sz="1600" b="0">
                <a:solidFill>
                  <a:schemeClr val="tx1"/>
                </a:solidFill>
              </a:defRPr>
            </a:lvl1pPr>
            <a:lvl2pPr>
              <a:lnSpc>
                <a:spcPts val="1600"/>
              </a:lnSpc>
              <a:spcBef>
                <a:spcPts val="100"/>
              </a:spcBef>
              <a:defRPr sz="1200" b="0">
                <a:solidFill>
                  <a:schemeClr val="tx1"/>
                </a:solidFill>
              </a:defRPr>
            </a:lvl2pPr>
            <a:lvl3pPr marL="0" indent="0">
              <a:lnSpc>
                <a:spcPts val="1600"/>
              </a:lnSpc>
              <a:buNone/>
              <a:defRPr sz="1200"/>
            </a:lvl3pPr>
          </a:lstStyle>
          <a:p>
            <a:pPr lvl="0"/>
            <a:r>
              <a:rPr lang="de-DE" noProof="0" dirty="0"/>
              <a:t>Formatvorlagen des Textmasters bearbeiten</a:t>
            </a:r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7"/>
          </p:nvPr>
        </p:nvSpPr>
        <p:spPr bwMode="gray">
          <a:xfrm>
            <a:off x="444843" y="2915134"/>
            <a:ext cx="11301057" cy="246221"/>
          </a:xfrm>
        </p:spPr>
        <p:txBody>
          <a:bodyPr/>
          <a:lstStyle>
            <a:lvl1pPr marL="360363" indent="-360363">
              <a:lnSpc>
                <a:spcPct val="100000"/>
              </a:lnSpc>
              <a:spcBef>
                <a:spcPts val="0"/>
              </a:spcBef>
              <a:buFont typeface="+mj-lt"/>
              <a:buNone/>
              <a:defRPr sz="1600" b="0">
                <a:solidFill>
                  <a:schemeClr val="tx1"/>
                </a:solidFill>
              </a:defRPr>
            </a:lvl1pPr>
            <a:lvl2pPr>
              <a:lnSpc>
                <a:spcPts val="1600"/>
              </a:lnSpc>
              <a:spcBef>
                <a:spcPts val="100"/>
              </a:spcBef>
              <a:defRPr sz="1200" b="0">
                <a:solidFill>
                  <a:schemeClr val="tx1"/>
                </a:solidFill>
              </a:defRPr>
            </a:lvl2pPr>
            <a:lvl3pPr marL="0" indent="0">
              <a:lnSpc>
                <a:spcPts val="1600"/>
              </a:lnSpc>
              <a:buNone/>
              <a:defRPr sz="1200"/>
            </a:lvl3pPr>
          </a:lstStyle>
          <a:p>
            <a:pPr lvl="0"/>
            <a:r>
              <a:rPr lang="de-DE" noProof="0" dirty="0"/>
              <a:t>Formatvorlagen des Textmasters bearbeiten</a:t>
            </a:r>
          </a:p>
        </p:txBody>
      </p:sp>
      <p:sp>
        <p:nvSpPr>
          <p:cNvPr id="12" name="Textplatzhalter 9"/>
          <p:cNvSpPr>
            <a:spLocks noGrp="1"/>
          </p:cNvSpPr>
          <p:nvPr>
            <p:ph type="body" sz="quarter" idx="18"/>
          </p:nvPr>
        </p:nvSpPr>
        <p:spPr bwMode="gray">
          <a:xfrm>
            <a:off x="444843" y="3169133"/>
            <a:ext cx="11301057" cy="246221"/>
          </a:xfrm>
        </p:spPr>
        <p:txBody>
          <a:bodyPr/>
          <a:lstStyle>
            <a:lvl1pPr marL="360363" indent="-360363">
              <a:lnSpc>
                <a:spcPct val="100000"/>
              </a:lnSpc>
              <a:spcBef>
                <a:spcPts val="0"/>
              </a:spcBef>
              <a:buFont typeface="+mj-lt"/>
              <a:buNone/>
              <a:defRPr sz="1600" b="0">
                <a:solidFill>
                  <a:schemeClr val="tx1"/>
                </a:solidFill>
              </a:defRPr>
            </a:lvl1pPr>
            <a:lvl2pPr>
              <a:lnSpc>
                <a:spcPts val="1600"/>
              </a:lnSpc>
              <a:spcBef>
                <a:spcPts val="100"/>
              </a:spcBef>
              <a:defRPr sz="1200" b="0">
                <a:solidFill>
                  <a:schemeClr val="tx1"/>
                </a:solidFill>
              </a:defRPr>
            </a:lvl2pPr>
            <a:lvl3pPr marL="0" indent="0">
              <a:lnSpc>
                <a:spcPts val="1600"/>
              </a:lnSpc>
              <a:buNone/>
              <a:defRPr sz="1200"/>
            </a:lvl3pPr>
          </a:lstStyle>
          <a:p>
            <a:pPr lvl="0"/>
            <a:r>
              <a:rPr lang="de-DE" noProof="0" dirty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231179852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luß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">
          <a:xfrm>
            <a:off x="444843" y="3756944"/>
            <a:ext cx="11301057" cy="1025922"/>
          </a:xfrm>
        </p:spPr>
        <p:txBody>
          <a:bodyPr anchor="b" anchorCtr="0"/>
          <a:lstStyle>
            <a:lvl1pPr>
              <a:lnSpc>
                <a:spcPts val="4000"/>
              </a:lnSpc>
              <a:defRPr sz="3699" baseline="0"/>
            </a:lvl1pPr>
          </a:lstStyle>
          <a:p>
            <a:r>
              <a:rPr lang="de-DE" noProof="0" dirty="0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>
          <a:xfrm>
            <a:off x="444843" y="4981934"/>
            <a:ext cx="11301057" cy="256480"/>
          </a:xfrm>
        </p:spPr>
        <p:txBody>
          <a:bodyPr>
            <a:spAutoFit/>
          </a:bodyPr>
          <a:lstStyle>
            <a:lvl1pPr marL="0" indent="0" algn="l">
              <a:spcBef>
                <a:spcPts val="0"/>
              </a:spcBef>
              <a:buNone/>
              <a:defRPr b="1" i="0" cap="all" spc="230" baseline="0">
                <a:solidFill>
                  <a:schemeClr val="tx1"/>
                </a:solidFill>
              </a:defRPr>
            </a:lvl1pPr>
            <a:lvl2pPr marL="4570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 dirty="0"/>
              <a:t>Formatvorlage des Untertitelmasters durch Klicken bearbeiten</a:t>
            </a:r>
          </a:p>
        </p:txBody>
      </p:sp>
      <p:pic>
        <p:nvPicPr>
          <p:cNvPr id="4" name="Grafik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466164" y="563254"/>
            <a:ext cx="1259672" cy="1370141"/>
          </a:xfrm>
          <a:prstGeom prst="rect">
            <a:avLst/>
          </a:prstGeom>
        </p:spPr>
      </p:pic>
      <p:grpSp>
        <p:nvGrpSpPr>
          <p:cNvPr id="18" name="Gruppieren 17"/>
          <p:cNvGrpSpPr/>
          <p:nvPr userDrawn="1"/>
        </p:nvGrpSpPr>
        <p:grpSpPr bwMode="gray">
          <a:xfrm>
            <a:off x="449295" y="-153684"/>
            <a:ext cx="11297861" cy="108000"/>
            <a:chOff x="449412" y="0"/>
            <a:chExt cx="11300803" cy="108000"/>
          </a:xfrm>
        </p:grpSpPr>
        <p:sp>
          <p:nvSpPr>
            <p:cNvPr id="20" name="Freihandform: Form 19"/>
            <p:cNvSpPr/>
            <p:nvPr userDrawn="1"/>
          </p:nvSpPr>
          <p:spPr bwMode="gray">
            <a:xfrm>
              <a:off x="449412" y="0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  <p:sp>
          <p:nvSpPr>
            <p:cNvPr id="21" name="Freihandform: Form 20"/>
            <p:cNvSpPr/>
            <p:nvPr userDrawn="1"/>
          </p:nvSpPr>
          <p:spPr bwMode="gray">
            <a:xfrm>
              <a:off x="5950099" y="0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  <p:sp>
          <p:nvSpPr>
            <p:cNvPr id="22" name="Freihandform: Form 21"/>
            <p:cNvSpPr/>
            <p:nvPr userDrawn="1"/>
          </p:nvSpPr>
          <p:spPr bwMode="gray">
            <a:xfrm>
              <a:off x="6242050" y="0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  <p:sp>
          <p:nvSpPr>
            <p:cNvPr id="23" name="Freihandform: Form 22"/>
            <p:cNvSpPr/>
            <p:nvPr userDrawn="1"/>
          </p:nvSpPr>
          <p:spPr bwMode="gray">
            <a:xfrm>
              <a:off x="11750215" y="0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</p:grpSp>
      <p:grpSp>
        <p:nvGrpSpPr>
          <p:cNvPr id="24" name="Gruppieren 23"/>
          <p:cNvGrpSpPr/>
          <p:nvPr userDrawn="1"/>
        </p:nvGrpSpPr>
        <p:grpSpPr bwMode="gray">
          <a:xfrm>
            <a:off x="449295" y="6903684"/>
            <a:ext cx="11297861" cy="108000"/>
            <a:chOff x="449412" y="0"/>
            <a:chExt cx="11300803" cy="108000"/>
          </a:xfrm>
        </p:grpSpPr>
        <p:sp>
          <p:nvSpPr>
            <p:cNvPr id="26" name="Freihandform: Form 25"/>
            <p:cNvSpPr/>
            <p:nvPr userDrawn="1"/>
          </p:nvSpPr>
          <p:spPr bwMode="gray">
            <a:xfrm>
              <a:off x="449412" y="0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  <p:sp>
          <p:nvSpPr>
            <p:cNvPr id="27" name="Freihandform: Form 26"/>
            <p:cNvSpPr/>
            <p:nvPr userDrawn="1"/>
          </p:nvSpPr>
          <p:spPr bwMode="gray">
            <a:xfrm>
              <a:off x="5950099" y="0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  <p:sp>
          <p:nvSpPr>
            <p:cNvPr id="28" name="Freihandform: Form 27"/>
            <p:cNvSpPr/>
            <p:nvPr userDrawn="1"/>
          </p:nvSpPr>
          <p:spPr bwMode="gray">
            <a:xfrm>
              <a:off x="6242050" y="0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  <p:sp>
          <p:nvSpPr>
            <p:cNvPr id="29" name="Freihandform: Form 28"/>
            <p:cNvSpPr/>
            <p:nvPr userDrawn="1"/>
          </p:nvSpPr>
          <p:spPr bwMode="gray">
            <a:xfrm>
              <a:off x="11750215" y="0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</p:grpSp>
      <p:grpSp>
        <p:nvGrpSpPr>
          <p:cNvPr id="30" name="Gruppieren 29"/>
          <p:cNvGrpSpPr/>
          <p:nvPr userDrawn="1"/>
        </p:nvGrpSpPr>
        <p:grpSpPr>
          <a:xfrm>
            <a:off x="-149354" y="1664804"/>
            <a:ext cx="107973" cy="4500500"/>
            <a:chOff x="-149393" y="1664804"/>
            <a:chExt cx="108001" cy="4500500"/>
          </a:xfrm>
        </p:grpSpPr>
        <p:sp>
          <p:nvSpPr>
            <p:cNvPr id="31" name="Freihandform: Form 30"/>
            <p:cNvSpPr/>
            <p:nvPr userDrawn="1"/>
          </p:nvSpPr>
          <p:spPr>
            <a:xfrm rot="16200000">
              <a:off x="-95392" y="6111304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  <p:sp>
          <p:nvSpPr>
            <p:cNvPr id="32" name="Freihandform: Form 31"/>
            <p:cNvSpPr/>
            <p:nvPr userDrawn="1"/>
          </p:nvSpPr>
          <p:spPr>
            <a:xfrm rot="16200000">
              <a:off x="-95393" y="1610804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</p:grpSp>
      <p:grpSp>
        <p:nvGrpSpPr>
          <p:cNvPr id="33" name="Gruppieren 32"/>
          <p:cNvGrpSpPr/>
          <p:nvPr userDrawn="1"/>
        </p:nvGrpSpPr>
        <p:grpSpPr bwMode="gray">
          <a:xfrm>
            <a:off x="12233381" y="1664804"/>
            <a:ext cx="107973" cy="4500500"/>
            <a:chOff x="-149393" y="1664804"/>
            <a:chExt cx="108001" cy="4500500"/>
          </a:xfrm>
        </p:grpSpPr>
        <p:sp>
          <p:nvSpPr>
            <p:cNvPr id="34" name="Freihandform: Form 33"/>
            <p:cNvSpPr/>
            <p:nvPr userDrawn="1"/>
          </p:nvSpPr>
          <p:spPr bwMode="gray">
            <a:xfrm rot="16200000">
              <a:off x="-95392" y="6111304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  <p:sp>
          <p:nvSpPr>
            <p:cNvPr id="35" name="Freihandform: Form 34"/>
            <p:cNvSpPr/>
            <p:nvPr userDrawn="1"/>
          </p:nvSpPr>
          <p:spPr bwMode="gray">
            <a:xfrm rot="16200000">
              <a:off x="-95393" y="1610804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</p:grpSp>
      <p:sp>
        <p:nvSpPr>
          <p:cNvPr id="54" name="Freihandform: Form 53"/>
          <p:cNvSpPr/>
          <p:nvPr userDrawn="1"/>
        </p:nvSpPr>
        <p:spPr bwMode="gray">
          <a:xfrm>
            <a:off x="2230292" y="0"/>
            <a:ext cx="7719990" cy="3196710"/>
          </a:xfrm>
          <a:custGeom>
            <a:avLst/>
            <a:gdLst>
              <a:gd name="connsiteX0" fmla="*/ 2501972 w 7722000"/>
              <a:gd name="connsiteY0" fmla="*/ 2484000 h 3196710"/>
              <a:gd name="connsiteX1" fmla="*/ 2519416 w 7722000"/>
              <a:gd name="connsiteY1" fmla="*/ 2507328 h 3196710"/>
              <a:gd name="connsiteX2" fmla="*/ 3866714 w 7722000"/>
              <a:gd name="connsiteY2" fmla="*/ 3142710 h 3196710"/>
              <a:gd name="connsiteX3" fmla="*/ 5214013 w 7722000"/>
              <a:gd name="connsiteY3" fmla="*/ 2507328 h 3196710"/>
              <a:gd name="connsiteX4" fmla="*/ 5231457 w 7722000"/>
              <a:gd name="connsiteY4" fmla="*/ 2484000 h 3196710"/>
              <a:gd name="connsiteX5" fmla="*/ 2055661 w 7722000"/>
              <a:gd name="connsiteY5" fmla="*/ 0 h 3196710"/>
              <a:gd name="connsiteX6" fmla="*/ 2109661 w 7722000"/>
              <a:gd name="connsiteY6" fmla="*/ 0 h 3196710"/>
              <a:gd name="connsiteX7" fmla="*/ 2109661 w 7722000"/>
              <a:gd name="connsiteY7" fmla="*/ 252000 h 3196710"/>
              <a:gd name="connsiteX8" fmla="*/ 5601661 w 7722000"/>
              <a:gd name="connsiteY8" fmla="*/ 252000 h 3196710"/>
              <a:gd name="connsiteX9" fmla="*/ 5601661 w 7722000"/>
              <a:gd name="connsiteY9" fmla="*/ 0 h 3196710"/>
              <a:gd name="connsiteX10" fmla="*/ 5655661 w 7722000"/>
              <a:gd name="connsiteY10" fmla="*/ 0 h 3196710"/>
              <a:gd name="connsiteX11" fmla="*/ 5655661 w 7722000"/>
              <a:gd name="connsiteY11" fmla="*/ 306000 h 3196710"/>
              <a:gd name="connsiteX12" fmla="*/ 2055661 w 7722000"/>
              <a:gd name="connsiteY12" fmla="*/ 306000 h 3196710"/>
              <a:gd name="connsiteX13" fmla="*/ 0 w 7722000"/>
              <a:gd name="connsiteY13" fmla="*/ 0 h 3196710"/>
              <a:gd name="connsiteX14" fmla="*/ 54000 w 7722000"/>
              <a:gd name="connsiteY14" fmla="*/ 0 h 3196710"/>
              <a:gd name="connsiteX15" fmla="*/ 54000 w 7722000"/>
              <a:gd name="connsiteY15" fmla="*/ 2430000 h 3196710"/>
              <a:gd name="connsiteX16" fmla="*/ 7668000 w 7722000"/>
              <a:gd name="connsiteY16" fmla="*/ 2430000 h 3196710"/>
              <a:gd name="connsiteX17" fmla="*/ 7668000 w 7722000"/>
              <a:gd name="connsiteY17" fmla="*/ 0 h 3196710"/>
              <a:gd name="connsiteX18" fmla="*/ 7722000 w 7722000"/>
              <a:gd name="connsiteY18" fmla="*/ 0 h 3196710"/>
              <a:gd name="connsiteX19" fmla="*/ 7722000 w 7722000"/>
              <a:gd name="connsiteY19" fmla="*/ 2484000 h 3196710"/>
              <a:gd name="connsiteX20" fmla="*/ 5298813 w 7722000"/>
              <a:gd name="connsiteY20" fmla="*/ 2484000 h 3196710"/>
              <a:gd name="connsiteX21" fmla="*/ 5255682 w 7722000"/>
              <a:gd name="connsiteY21" fmla="*/ 2541677 h 3196710"/>
              <a:gd name="connsiteX22" fmla="*/ 3866714 w 7722000"/>
              <a:gd name="connsiteY22" fmla="*/ 3196710 h 3196710"/>
              <a:gd name="connsiteX23" fmla="*/ 2477747 w 7722000"/>
              <a:gd name="connsiteY23" fmla="*/ 2541677 h 3196710"/>
              <a:gd name="connsiteX24" fmla="*/ 2434617 w 7722000"/>
              <a:gd name="connsiteY24" fmla="*/ 2484000 h 3196710"/>
              <a:gd name="connsiteX25" fmla="*/ 0 w 7722000"/>
              <a:gd name="connsiteY25" fmla="*/ 2484000 h 31967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7722000" h="3196710">
                <a:moveTo>
                  <a:pt x="2501972" y="2484000"/>
                </a:moveTo>
                <a:lnTo>
                  <a:pt x="2519416" y="2507328"/>
                </a:lnTo>
                <a:cubicBezTo>
                  <a:pt x="2839658" y="2895372"/>
                  <a:pt x="3324302" y="3142710"/>
                  <a:pt x="3866714" y="3142710"/>
                </a:cubicBezTo>
                <a:cubicBezTo>
                  <a:pt x="4409127" y="3142710"/>
                  <a:pt x="4893771" y="2895372"/>
                  <a:pt x="5214013" y="2507328"/>
                </a:cubicBezTo>
                <a:lnTo>
                  <a:pt x="5231457" y="2484000"/>
                </a:lnTo>
                <a:close/>
                <a:moveTo>
                  <a:pt x="2055661" y="0"/>
                </a:moveTo>
                <a:lnTo>
                  <a:pt x="2109661" y="0"/>
                </a:lnTo>
                <a:lnTo>
                  <a:pt x="2109661" y="252000"/>
                </a:lnTo>
                <a:lnTo>
                  <a:pt x="5601661" y="252000"/>
                </a:lnTo>
                <a:lnTo>
                  <a:pt x="5601661" y="0"/>
                </a:lnTo>
                <a:lnTo>
                  <a:pt x="5655661" y="0"/>
                </a:lnTo>
                <a:lnTo>
                  <a:pt x="5655661" y="306000"/>
                </a:lnTo>
                <a:lnTo>
                  <a:pt x="2055661" y="306000"/>
                </a:lnTo>
                <a:close/>
                <a:moveTo>
                  <a:pt x="0" y="0"/>
                </a:moveTo>
                <a:lnTo>
                  <a:pt x="54000" y="0"/>
                </a:lnTo>
                <a:lnTo>
                  <a:pt x="54000" y="2430000"/>
                </a:lnTo>
                <a:lnTo>
                  <a:pt x="7668000" y="2430000"/>
                </a:lnTo>
                <a:lnTo>
                  <a:pt x="7668000" y="0"/>
                </a:lnTo>
                <a:lnTo>
                  <a:pt x="7722000" y="0"/>
                </a:lnTo>
                <a:lnTo>
                  <a:pt x="7722000" y="2484000"/>
                </a:lnTo>
                <a:lnTo>
                  <a:pt x="5298813" y="2484000"/>
                </a:lnTo>
                <a:lnTo>
                  <a:pt x="5255682" y="2541677"/>
                </a:lnTo>
                <a:cubicBezTo>
                  <a:pt x="4925536" y="2941722"/>
                  <a:pt x="4425903" y="3196710"/>
                  <a:pt x="3866714" y="3196710"/>
                </a:cubicBezTo>
                <a:cubicBezTo>
                  <a:pt x="3307526" y="3196710"/>
                  <a:pt x="2807893" y="2941722"/>
                  <a:pt x="2477747" y="2541677"/>
                </a:cubicBezTo>
                <a:lnTo>
                  <a:pt x="2434617" y="2484000"/>
                </a:lnTo>
                <a:lnTo>
                  <a:pt x="0" y="248400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799" dirty="0"/>
          </a:p>
        </p:txBody>
      </p:sp>
    </p:spTree>
    <p:extLst>
      <p:ext uri="{BB962C8B-B14F-4D97-AF65-F5344CB8AC3E}">
        <p14:creationId xmlns:p14="http://schemas.microsoft.com/office/powerpoint/2010/main" val="134581761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Bildplatzhalter 28"/>
          <p:cNvSpPr>
            <a:spLocks noGrp="1"/>
          </p:cNvSpPr>
          <p:nvPr>
            <p:ph type="pic" sz="quarter" idx="18"/>
          </p:nvPr>
        </p:nvSpPr>
        <p:spPr bwMode="gray">
          <a:xfrm>
            <a:off x="7779549" y="0"/>
            <a:ext cx="4412451" cy="6858000"/>
          </a:xfrm>
          <a:custGeom>
            <a:avLst/>
            <a:gdLst>
              <a:gd name="connsiteX0" fmla="*/ 0 w 4413600"/>
              <a:gd name="connsiteY0" fmla="*/ 4806776 h 6858000"/>
              <a:gd name="connsiteX1" fmla="*/ 216534 w 4413600"/>
              <a:gd name="connsiteY1" fmla="*/ 4814300 h 6858000"/>
              <a:gd name="connsiteX2" fmla="*/ 3171593 w 4413600"/>
              <a:gd name="connsiteY2" fmla="*/ 6717625 h 6858000"/>
              <a:gd name="connsiteX3" fmla="*/ 3239215 w 4413600"/>
              <a:gd name="connsiteY3" fmla="*/ 6858000 h 6858000"/>
              <a:gd name="connsiteX4" fmla="*/ 0 w 4413600"/>
              <a:gd name="connsiteY4" fmla="*/ 6858000 h 6858000"/>
              <a:gd name="connsiteX5" fmla="*/ 0 w 4413600"/>
              <a:gd name="connsiteY5" fmla="*/ 0 h 6858000"/>
              <a:gd name="connsiteX6" fmla="*/ 4413600 w 4413600"/>
              <a:gd name="connsiteY6" fmla="*/ 0 h 6858000"/>
              <a:gd name="connsiteX7" fmla="*/ 4413600 w 4413600"/>
              <a:gd name="connsiteY7" fmla="*/ 6858000 h 6858000"/>
              <a:gd name="connsiteX8" fmla="*/ 3303780 w 4413600"/>
              <a:gd name="connsiteY8" fmla="*/ 6858000 h 6858000"/>
              <a:gd name="connsiteX9" fmla="*/ 3300962 w 4413600"/>
              <a:gd name="connsiteY9" fmla="*/ 6851767 h 6858000"/>
              <a:gd name="connsiteX10" fmla="*/ 232131 w 4413600"/>
              <a:gd name="connsiteY10" fmla="*/ 4761273 h 6858000"/>
              <a:gd name="connsiteX11" fmla="*/ 0 w 4413600"/>
              <a:gd name="connsiteY11" fmla="*/ 475284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413600" h="6858000">
                <a:moveTo>
                  <a:pt x="0" y="4806776"/>
                </a:moveTo>
                <a:lnTo>
                  <a:pt x="216534" y="4814300"/>
                </a:lnTo>
                <a:cubicBezTo>
                  <a:pt x="1494573" y="4903423"/>
                  <a:pt x="2591500" y="5649771"/>
                  <a:pt x="3171593" y="6717625"/>
                </a:cubicBezTo>
                <a:lnTo>
                  <a:pt x="3239215" y="6858000"/>
                </a:lnTo>
                <a:lnTo>
                  <a:pt x="0" y="6858000"/>
                </a:lnTo>
                <a:close/>
                <a:moveTo>
                  <a:pt x="0" y="0"/>
                </a:moveTo>
                <a:lnTo>
                  <a:pt x="4413600" y="0"/>
                </a:lnTo>
                <a:lnTo>
                  <a:pt x="4413600" y="6858000"/>
                </a:lnTo>
                <a:lnTo>
                  <a:pt x="3303780" y="6858000"/>
                </a:lnTo>
                <a:lnTo>
                  <a:pt x="3300962" y="6851767"/>
                </a:lnTo>
                <a:cubicBezTo>
                  <a:pt x="2739546" y="5686639"/>
                  <a:pt x="1586841" y="4860046"/>
                  <a:pt x="232131" y="4761273"/>
                </a:cubicBezTo>
                <a:lnTo>
                  <a:pt x="0" y="4752842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tIns="72000">
            <a:noAutofit/>
          </a:bodyPr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endParaRPr lang="de-DE" noProof="0" dirty="0"/>
          </a:p>
        </p:txBody>
      </p:sp>
      <p:sp>
        <p:nvSpPr>
          <p:cNvPr id="60" name="Rechteck 59"/>
          <p:cNvSpPr/>
          <p:nvPr userDrawn="1"/>
        </p:nvSpPr>
        <p:spPr bwMode="gray">
          <a:xfrm>
            <a:off x="7724239" y="0"/>
            <a:ext cx="53986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799" dirty="0"/>
          </a:p>
        </p:txBody>
      </p:sp>
      <p:sp>
        <p:nvSpPr>
          <p:cNvPr id="66" name="Freihandform: Form 65"/>
          <p:cNvSpPr>
            <a:spLocks noChangeAspect="1"/>
          </p:cNvSpPr>
          <p:nvPr userDrawn="1"/>
        </p:nvSpPr>
        <p:spPr bwMode="gray">
          <a:xfrm>
            <a:off x="4393872" y="4751338"/>
            <a:ext cx="6688596" cy="2106662"/>
          </a:xfrm>
          <a:custGeom>
            <a:avLst/>
            <a:gdLst>
              <a:gd name="connsiteX0" fmla="*/ 3345169 w 6690338"/>
              <a:gd name="connsiteY0" fmla="*/ 0 h 2106662"/>
              <a:gd name="connsiteX1" fmla="*/ 6687520 w 6690338"/>
              <a:gd name="connsiteY1" fmla="*/ 2100429 h 2106662"/>
              <a:gd name="connsiteX2" fmla="*/ 6690338 w 6690338"/>
              <a:gd name="connsiteY2" fmla="*/ 2106662 h 2106662"/>
              <a:gd name="connsiteX3" fmla="*/ 6625773 w 6690338"/>
              <a:gd name="connsiteY3" fmla="*/ 2106662 h 2106662"/>
              <a:gd name="connsiteX4" fmla="*/ 6558151 w 6690338"/>
              <a:gd name="connsiteY4" fmla="*/ 1966287 h 2106662"/>
              <a:gd name="connsiteX5" fmla="*/ 3345169 w 6690338"/>
              <a:gd name="connsiteY5" fmla="*/ 54000 h 2106662"/>
              <a:gd name="connsiteX6" fmla="*/ 132188 w 6690338"/>
              <a:gd name="connsiteY6" fmla="*/ 1966287 h 2106662"/>
              <a:gd name="connsiteX7" fmla="*/ 64565 w 6690338"/>
              <a:gd name="connsiteY7" fmla="*/ 2106662 h 2106662"/>
              <a:gd name="connsiteX8" fmla="*/ 0 w 6690338"/>
              <a:gd name="connsiteY8" fmla="*/ 2106662 h 2106662"/>
              <a:gd name="connsiteX9" fmla="*/ 2818 w 6690338"/>
              <a:gd name="connsiteY9" fmla="*/ 2100429 h 2106662"/>
              <a:gd name="connsiteX10" fmla="*/ 3345169 w 6690338"/>
              <a:gd name="connsiteY10" fmla="*/ 0 h 21066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6690338" h="2106662">
                <a:moveTo>
                  <a:pt x="3345169" y="0"/>
                </a:moveTo>
                <a:cubicBezTo>
                  <a:pt x="4817077" y="0"/>
                  <a:pt x="6088676" y="857625"/>
                  <a:pt x="6687520" y="2100429"/>
                </a:cubicBezTo>
                <a:lnTo>
                  <a:pt x="6690338" y="2106662"/>
                </a:lnTo>
                <a:lnTo>
                  <a:pt x="6625773" y="2106662"/>
                </a:lnTo>
                <a:lnTo>
                  <a:pt x="6558151" y="1966287"/>
                </a:lnTo>
                <a:cubicBezTo>
                  <a:pt x="5939385" y="827243"/>
                  <a:pt x="4732577" y="54000"/>
                  <a:pt x="3345169" y="54000"/>
                </a:cubicBezTo>
                <a:cubicBezTo>
                  <a:pt x="1957761" y="54000"/>
                  <a:pt x="750953" y="827243"/>
                  <a:pt x="132188" y="1966287"/>
                </a:cubicBezTo>
                <a:lnTo>
                  <a:pt x="64565" y="2106662"/>
                </a:lnTo>
                <a:lnTo>
                  <a:pt x="0" y="2106662"/>
                </a:lnTo>
                <a:lnTo>
                  <a:pt x="2818" y="2100429"/>
                </a:lnTo>
                <a:cubicBezTo>
                  <a:pt x="601663" y="857625"/>
                  <a:pt x="1873261" y="0"/>
                  <a:pt x="3345169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799" dirty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">
          <a:xfrm>
            <a:off x="444843" y="2988048"/>
            <a:ext cx="6658266" cy="1538883"/>
          </a:xfrm>
        </p:spPr>
        <p:txBody>
          <a:bodyPr anchor="b" anchorCtr="0"/>
          <a:lstStyle>
            <a:lvl1pPr>
              <a:lnSpc>
                <a:spcPts val="4000"/>
              </a:lnSpc>
              <a:defRPr sz="3699" baseline="0"/>
            </a:lvl1pPr>
          </a:lstStyle>
          <a:p>
            <a:r>
              <a:rPr lang="de-DE" noProof="0" dirty="0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>
          <a:xfrm>
            <a:off x="444843" y="4725999"/>
            <a:ext cx="5362603" cy="512961"/>
          </a:xfrm>
        </p:spPr>
        <p:txBody>
          <a:bodyPr>
            <a:spAutoFit/>
          </a:bodyPr>
          <a:lstStyle>
            <a:lvl1pPr marL="0" indent="0" algn="l">
              <a:spcBef>
                <a:spcPts val="0"/>
              </a:spcBef>
              <a:buNone/>
              <a:defRPr b="1" i="0" cap="all" spc="230" baseline="0">
                <a:solidFill>
                  <a:schemeClr val="tx1"/>
                </a:solidFill>
              </a:defRPr>
            </a:lvl1pPr>
            <a:lvl2pPr marL="4570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 dirty="0"/>
              <a:t>Formatvorlage des Untertitelmasters durch Klicken bearbeiten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/>
          </p:nvPr>
        </p:nvSpPr>
        <p:spPr bwMode="gray">
          <a:xfrm>
            <a:off x="444843" y="5172621"/>
            <a:ext cx="4858735" cy="205184"/>
          </a:xfrm>
        </p:spPr>
        <p:txBody>
          <a:bodyPr/>
          <a:lstStyle>
            <a:lvl1pPr marL="0" indent="0">
              <a:lnSpc>
                <a:spcPts val="1600"/>
              </a:lnSpc>
              <a:spcBef>
                <a:spcPts val="100"/>
              </a:spcBef>
              <a:buFont typeface="+mj-lt"/>
              <a:buNone/>
              <a:defRPr sz="1200" b="1">
                <a:solidFill>
                  <a:schemeClr val="tx1"/>
                </a:solidFill>
              </a:defRPr>
            </a:lvl1pPr>
            <a:lvl2pPr>
              <a:lnSpc>
                <a:spcPts val="1600"/>
              </a:lnSpc>
              <a:spcBef>
                <a:spcPts val="100"/>
              </a:spcBef>
              <a:defRPr sz="1200" b="0">
                <a:solidFill>
                  <a:schemeClr val="tx1"/>
                </a:solidFill>
              </a:defRPr>
            </a:lvl2pPr>
            <a:lvl3pPr marL="0" indent="0">
              <a:lnSpc>
                <a:spcPts val="1600"/>
              </a:lnSpc>
              <a:buNone/>
              <a:defRPr sz="1200"/>
            </a:lvl3pPr>
          </a:lstStyle>
          <a:p>
            <a:pPr lvl="0"/>
            <a:r>
              <a:rPr lang="de-DE" noProof="0" dirty="0"/>
              <a:t>Formatvorlagen des Textmasters bearbeiten</a:t>
            </a:r>
          </a:p>
        </p:txBody>
      </p:sp>
      <p:pic>
        <p:nvPicPr>
          <p:cNvPr id="6" name="Grafik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466164" y="563254"/>
            <a:ext cx="1259672" cy="1370141"/>
          </a:xfrm>
          <a:prstGeom prst="rect">
            <a:avLst/>
          </a:prstGeom>
        </p:spPr>
      </p:pic>
      <p:grpSp>
        <p:nvGrpSpPr>
          <p:cNvPr id="40" name="Gruppieren 39"/>
          <p:cNvGrpSpPr/>
          <p:nvPr userDrawn="1"/>
        </p:nvGrpSpPr>
        <p:grpSpPr>
          <a:xfrm>
            <a:off x="449295" y="-153684"/>
            <a:ext cx="11297861" cy="108000"/>
            <a:chOff x="449412" y="0"/>
            <a:chExt cx="11300803" cy="108000"/>
          </a:xfrm>
        </p:grpSpPr>
        <p:sp>
          <p:nvSpPr>
            <p:cNvPr id="42" name="Freihandform: Form 41"/>
            <p:cNvSpPr/>
            <p:nvPr userDrawn="1"/>
          </p:nvSpPr>
          <p:spPr>
            <a:xfrm>
              <a:off x="449412" y="0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  <p:sp>
          <p:nvSpPr>
            <p:cNvPr id="43" name="Freihandform: Form 42"/>
            <p:cNvSpPr/>
            <p:nvPr userDrawn="1"/>
          </p:nvSpPr>
          <p:spPr>
            <a:xfrm>
              <a:off x="5950099" y="0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  <p:sp>
          <p:nvSpPr>
            <p:cNvPr id="44" name="Freihandform: Form 43"/>
            <p:cNvSpPr/>
            <p:nvPr userDrawn="1"/>
          </p:nvSpPr>
          <p:spPr>
            <a:xfrm>
              <a:off x="6242050" y="0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  <p:sp>
          <p:nvSpPr>
            <p:cNvPr id="45" name="Freihandform: Form 44"/>
            <p:cNvSpPr/>
            <p:nvPr userDrawn="1"/>
          </p:nvSpPr>
          <p:spPr>
            <a:xfrm>
              <a:off x="11750215" y="0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</p:grpSp>
      <p:grpSp>
        <p:nvGrpSpPr>
          <p:cNvPr id="46" name="Gruppieren 45"/>
          <p:cNvGrpSpPr/>
          <p:nvPr userDrawn="1"/>
        </p:nvGrpSpPr>
        <p:grpSpPr bwMode="gray">
          <a:xfrm>
            <a:off x="449295" y="6903684"/>
            <a:ext cx="11297861" cy="108000"/>
            <a:chOff x="449412" y="0"/>
            <a:chExt cx="11300803" cy="108000"/>
          </a:xfrm>
        </p:grpSpPr>
        <p:sp>
          <p:nvSpPr>
            <p:cNvPr id="48" name="Freihandform: Form 47"/>
            <p:cNvSpPr/>
            <p:nvPr userDrawn="1"/>
          </p:nvSpPr>
          <p:spPr bwMode="gray">
            <a:xfrm>
              <a:off x="449412" y="0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  <p:sp>
          <p:nvSpPr>
            <p:cNvPr id="49" name="Freihandform: Form 48"/>
            <p:cNvSpPr/>
            <p:nvPr userDrawn="1"/>
          </p:nvSpPr>
          <p:spPr bwMode="gray">
            <a:xfrm>
              <a:off x="5950099" y="0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  <p:sp>
          <p:nvSpPr>
            <p:cNvPr id="50" name="Freihandform: Form 49"/>
            <p:cNvSpPr/>
            <p:nvPr userDrawn="1"/>
          </p:nvSpPr>
          <p:spPr bwMode="gray">
            <a:xfrm>
              <a:off x="6242050" y="0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  <p:sp>
          <p:nvSpPr>
            <p:cNvPr id="51" name="Freihandform: Form 50"/>
            <p:cNvSpPr/>
            <p:nvPr userDrawn="1"/>
          </p:nvSpPr>
          <p:spPr bwMode="gray">
            <a:xfrm>
              <a:off x="11750215" y="0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</p:grpSp>
      <p:grpSp>
        <p:nvGrpSpPr>
          <p:cNvPr id="52" name="Gruppieren 51"/>
          <p:cNvGrpSpPr/>
          <p:nvPr userDrawn="1"/>
        </p:nvGrpSpPr>
        <p:grpSpPr>
          <a:xfrm>
            <a:off x="-149354" y="1664804"/>
            <a:ext cx="107973" cy="4500500"/>
            <a:chOff x="-149393" y="1664804"/>
            <a:chExt cx="108001" cy="4500500"/>
          </a:xfrm>
        </p:grpSpPr>
        <p:sp>
          <p:nvSpPr>
            <p:cNvPr id="53" name="Freihandform: Form 52"/>
            <p:cNvSpPr/>
            <p:nvPr userDrawn="1"/>
          </p:nvSpPr>
          <p:spPr>
            <a:xfrm rot="16200000">
              <a:off x="-95392" y="6111304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  <p:sp>
          <p:nvSpPr>
            <p:cNvPr id="54" name="Freihandform: Form 53"/>
            <p:cNvSpPr/>
            <p:nvPr userDrawn="1"/>
          </p:nvSpPr>
          <p:spPr>
            <a:xfrm rot="16200000">
              <a:off x="-95393" y="1610804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</p:grpSp>
      <p:grpSp>
        <p:nvGrpSpPr>
          <p:cNvPr id="55" name="Gruppieren 54"/>
          <p:cNvGrpSpPr/>
          <p:nvPr userDrawn="1"/>
        </p:nvGrpSpPr>
        <p:grpSpPr bwMode="gray">
          <a:xfrm>
            <a:off x="12233381" y="1664804"/>
            <a:ext cx="107973" cy="4500500"/>
            <a:chOff x="-149393" y="1664804"/>
            <a:chExt cx="108001" cy="4500500"/>
          </a:xfrm>
        </p:grpSpPr>
        <p:sp>
          <p:nvSpPr>
            <p:cNvPr id="56" name="Freihandform: Form 55"/>
            <p:cNvSpPr/>
            <p:nvPr userDrawn="1"/>
          </p:nvSpPr>
          <p:spPr bwMode="gray">
            <a:xfrm rot="16200000">
              <a:off x="-95392" y="6111304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  <p:sp>
          <p:nvSpPr>
            <p:cNvPr id="57" name="Freihandform: Form 56"/>
            <p:cNvSpPr/>
            <p:nvPr userDrawn="1"/>
          </p:nvSpPr>
          <p:spPr bwMode="gray">
            <a:xfrm rot="16200000">
              <a:off x="-95393" y="1610804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</p:grpSp>
      <p:sp>
        <p:nvSpPr>
          <p:cNvPr id="25" name="Textplatzhalter 9"/>
          <p:cNvSpPr>
            <a:spLocks noGrp="1"/>
          </p:cNvSpPr>
          <p:nvPr>
            <p:ph type="body" sz="quarter" idx="11"/>
          </p:nvPr>
        </p:nvSpPr>
        <p:spPr bwMode="gray">
          <a:xfrm>
            <a:off x="444843" y="5346736"/>
            <a:ext cx="4860000" cy="205184"/>
          </a:xfrm>
        </p:spPr>
        <p:txBody>
          <a:bodyPr/>
          <a:lstStyle>
            <a:lvl1pPr marL="0" indent="0">
              <a:lnSpc>
                <a:spcPts val="1600"/>
              </a:lnSpc>
              <a:spcBef>
                <a:spcPts val="100"/>
              </a:spcBef>
              <a:buFont typeface="+mj-lt"/>
              <a:buNone/>
              <a:defRPr sz="1200" b="1">
                <a:solidFill>
                  <a:schemeClr val="tx1"/>
                </a:solidFill>
              </a:defRPr>
            </a:lvl1pPr>
            <a:lvl2pPr>
              <a:lnSpc>
                <a:spcPts val="1600"/>
              </a:lnSpc>
              <a:spcBef>
                <a:spcPts val="100"/>
              </a:spcBef>
              <a:defRPr sz="1200" b="0">
                <a:solidFill>
                  <a:schemeClr val="tx1"/>
                </a:solidFill>
              </a:defRPr>
            </a:lvl2pPr>
            <a:lvl3pPr marL="0" indent="0">
              <a:lnSpc>
                <a:spcPts val="1600"/>
              </a:lnSpc>
              <a:buNone/>
              <a:defRPr sz="1200"/>
            </a:lvl3pPr>
          </a:lstStyle>
          <a:p>
            <a:pPr lvl="0"/>
            <a:r>
              <a:rPr lang="de-DE" noProof="0" dirty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427837359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ohne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reihandform: Form 17"/>
          <p:cNvSpPr/>
          <p:nvPr userDrawn="1"/>
        </p:nvSpPr>
        <p:spPr bwMode="gray">
          <a:xfrm>
            <a:off x="2230292" y="0"/>
            <a:ext cx="7719990" cy="3196710"/>
          </a:xfrm>
          <a:custGeom>
            <a:avLst/>
            <a:gdLst>
              <a:gd name="connsiteX0" fmla="*/ 2501972 w 7722000"/>
              <a:gd name="connsiteY0" fmla="*/ 2484000 h 3196710"/>
              <a:gd name="connsiteX1" fmla="*/ 2519416 w 7722000"/>
              <a:gd name="connsiteY1" fmla="*/ 2507328 h 3196710"/>
              <a:gd name="connsiteX2" fmla="*/ 3866714 w 7722000"/>
              <a:gd name="connsiteY2" fmla="*/ 3142710 h 3196710"/>
              <a:gd name="connsiteX3" fmla="*/ 5214013 w 7722000"/>
              <a:gd name="connsiteY3" fmla="*/ 2507328 h 3196710"/>
              <a:gd name="connsiteX4" fmla="*/ 5231457 w 7722000"/>
              <a:gd name="connsiteY4" fmla="*/ 2484000 h 3196710"/>
              <a:gd name="connsiteX5" fmla="*/ 2055661 w 7722000"/>
              <a:gd name="connsiteY5" fmla="*/ 0 h 3196710"/>
              <a:gd name="connsiteX6" fmla="*/ 2109661 w 7722000"/>
              <a:gd name="connsiteY6" fmla="*/ 0 h 3196710"/>
              <a:gd name="connsiteX7" fmla="*/ 2109661 w 7722000"/>
              <a:gd name="connsiteY7" fmla="*/ 252000 h 3196710"/>
              <a:gd name="connsiteX8" fmla="*/ 5601661 w 7722000"/>
              <a:gd name="connsiteY8" fmla="*/ 252000 h 3196710"/>
              <a:gd name="connsiteX9" fmla="*/ 5601661 w 7722000"/>
              <a:gd name="connsiteY9" fmla="*/ 0 h 3196710"/>
              <a:gd name="connsiteX10" fmla="*/ 5655661 w 7722000"/>
              <a:gd name="connsiteY10" fmla="*/ 0 h 3196710"/>
              <a:gd name="connsiteX11" fmla="*/ 5655661 w 7722000"/>
              <a:gd name="connsiteY11" fmla="*/ 306000 h 3196710"/>
              <a:gd name="connsiteX12" fmla="*/ 2055661 w 7722000"/>
              <a:gd name="connsiteY12" fmla="*/ 306000 h 3196710"/>
              <a:gd name="connsiteX13" fmla="*/ 0 w 7722000"/>
              <a:gd name="connsiteY13" fmla="*/ 0 h 3196710"/>
              <a:gd name="connsiteX14" fmla="*/ 54000 w 7722000"/>
              <a:gd name="connsiteY14" fmla="*/ 0 h 3196710"/>
              <a:gd name="connsiteX15" fmla="*/ 54000 w 7722000"/>
              <a:gd name="connsiteY15" fmla="*/ 2430000 h 3196710"/>
              <a:gd name="connsiteX16" fmla="*/ 7668000 w 7722000"/>
              <a:gd name="connsiteY16" fmla="*/ 2430000 h 3196710"/>
              <a:gd name="connsiteX17" fmla="*/ 7668000 w 7722000"/>
              <a:gd name="connsiteY17" fmla="*/ 0 h 3196710"/>
              <a:gd name="connsiteX18" fmla="*/ 7722000 w 7722000"/>
              <a:gd name="connsiteY18" fmla="*/ 0 h 3196710"/>
              <a:gd name="connsiteX19" fmla="*/ 7722000 w 7722000"/>
              <a:gd name="connsiteY19" fmla="*/ 2484000 h 3196710"/>
              <a:gd name="connsiteX20" fmla="*/ 5298813 w 7722000"/>
              <a:gd name="connsiteY20" fmla="*/ 2484000 h 3196710"/>
              <a:gd name="connsiteX21" fmla="*/ 5255682 w 7722000"/>
              <a:gd name="connsiteY21" fmla="*/ 2541677 h 3196710"/>
              <a:gd name="connsiteX22" fmla="*/ 3866714 w 7722000"/>
              <a:gd name="connsiteY22" fmla="*/ 3196710 h 3196710"/>
              <a:gd name="connsiteX23" fmla="*/ 2477747 w 7722000"/>
              <a:gd name="connsiteY23" fmla="*/ 2541677 h 3196710"/>
              <a:gd name="connsiteX24" fmla="*/ 2434617 w 7722000"/>
              <a:gd name="connsiteY24" fmla="*/ 2484000 h 3196710"/>
              <a:gd name="connsiteX25" fmla="*/ 0 w 7722000"/>
              <a:gd name="connsiteY25" fmla="*/ 2484000 h 31967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7722000" h="3196710">
                <a:moveTo>
                  <a:pt x="2501972" y="2484000"/>
                </a:moveTo>
                <a:lnTo>
                  <a:pt x="2519416" y="2507328"/>
                </a:lnTo>
                <a:cubicBezTo>
                  <a:pt x="2839658" y="2895372"/>
                  <a:pt x="3324302" y="3142710"/>
                  <a:pt x="3866714" y="3142710"/>
                </a:cubicBezTo>
                <a:cubicBezTo>
                  <a:pt x="4409127" y="3142710"/>
                  <a:pt x="4893771" y="2895372"/>
                  <a:pt x="5214013" y="2507328"/>
                </a:cubicBezTo>
                <a:lnTo>
                  <a:pt x="5231457" y="2484000"/>
                </a:lnTo>
                <a:close/>
                <a:moveTo>
                  <a:pt x="2055661" y="0"/>
                </a:moveTo>
                <a:lnTo>
                  <a:pt x="2109661" y="0"/>
                </a:lnTo>
                <a:lnTo>
                  <a:pt x="2109661" y="252000"/>
                </a:lnTo>
                <a:lnTo>
                  <a:pt x="5601661" y="252000"/>
                </a:lnTo>
                <a:lnTo>
                  <a:pt x="5601661" y="0"/>
                </a:lnTo>
                <a:lnTo>
                  <a:pt x="5655661" y="0"/>
                </a:lnTo>
                <a:lnTo>
                  <a:pt x="5655661" y="306000"/>
                </a:lnTo>
                <a:lnTo>
                  <a:pt x="2055661" y="306000"/>
                </a:lnTo>
                <a:close/>
                <a:moveTo>
                  <a:pt x="0" y="0"/>
                </a:moveTo>
                <a:lnTo>
                  <a:pt x="54000" y="0"/>
                </a:lnTo>
                <a:lnTo>
                  <a:pt x="54000" y="2430000"/>
                </a:lnTo>
                <a:lnTo>
                  <a:pt x="7668000" y="2430000"/>
                </a:lnTo>
                <a:lnTo>
                  <a:pt x="7668000" y="0"/>
                </a:lnTo>
                <a:lnTo>
                  <a:pt x="7722000" y="0"/>
                </a:lnTo>
                <a:lnTo>
                  <a:pt x="7722000" y="2484000"/>
                </a:lnTo>
                <a:lnTo>
                  <a:pt x="5298813" y="2484000"/>
                </a:lnTo>
                <a:lnTo>
                  <a:pt x="5255682" y="2541677"/>
                </a:lnTo>
                <a:cubicBezTo>
                  <a:pt x="4925536" y="2941722"/>
                  <a:pt x="4425903" y="3196710"/>
                  <a:pt x="3866714" y="3196710"/>
                </a:cubicBezTo>
                <a:cubicBezTo>
                  <a:pt x="3307526" y="3196710"/>
                  <a:pt x="2807893" y="2941722"/>
                  <a:pt x="2477747" y="2541677"/>
                </a:cubicBezTo>
                <a:lnTo>
                  <a:pt x="2434617" y="2484000"/>
                </a:lnTo>
                <a:lnTo>
                  <a:pt x="0" y="248400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799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3E119D66-E268-4737-A8A4-C0D9BEA2F792}" type="datetime1">
              <a:rPr lang="de-DE" noProof="0" smtClean="0"/>
              <a:t>08.01.2022</a:t>
            </a:fld>
            <a:endParaRPr lang="de-DE" noProof="0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 noProof="0" dirty="0"/>
              <a:t>/  Styleguide, Musterfolien für Präsentation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de-DE" noProof="0" dirty="0"/>
              <a:t>Seite </a:t>
            </a:r>
            <a:fld id="{105F6080-11B6-4F5B-BFCF-ADAD48E4948B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 bwMode="gray">
          <a:xfrm>
            <a:off x="444843" y="3263300"/>
            <a:ext cx="11301057" cy="1025922"/>
          </a:xfrm>
        </p:spPr>
        <p:txBody>
          <a:bodyPr/>
          <a:lstStyle>
            <a:lvl1pPr>
              <a:lnSpc>
                <a:spcPts val="4000"/>
              </a:lnSpc>
              <a:spcBef>
                <a:spcPts val="0"/>
              </a:spcBef>
              <a:defRPr sz="3699" cap="all" spc="4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 dirty="0"/>
              <a:t>Formatvorlagen des Textmasters bearbeiten</a:t>
            </a:r>
          </a:p>
        </p:txBody>
      </p:sp>
      <p:pic>
        <p:nvPicPr>
          <p:cNvPr id="17" name="Grafik 1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7486"/>
          <a:stretch/>
        </p:blipFill>
        <p:spPr bwMode="gray">
          <a:xfrm>
            <a:off x="5466164" y="563254"/>
            <a:ext cx="1259672" cy="993539"/>
          </a:xfrm>
          <a:prstGeom prst="rect">
            <a:avLst/>
          </a:prstGeom>
        </p:spPr>
      </p:pic>
      <p:grpSp>
        <p:nvGrpSpPr>
          <p:cNvPr id="20" name="Gruppieren 19"/>
          <p:cNvGrpSpPr/>
          <p:nvPr userDrawn="1"/>
        </p:nvGrpSpPr>
        <p:grpSpPr bwMode="gray">
          <a:xfrm>
            <a:off x="449295" y="-153684"/>
            <a:ext cx="11297861" cy="108000"/>
            <a:chOff x="449412" y="0"/>
            <a:chExt cx="11300803" cy="108000"/>
          </a:xfrm>
        </p:grpSpPr>
        <p:sp>
          <p:nvSpPr>
            <p:cNvPr id="22" name="Freihandform: Form 21"/>
            <p:cNvSpPr/>
            <p:nvPr userDrawn="1"/>
          </p:nvSpPr>
          <p:spPr bwMode="gray">
            <a:xfrm>
              <a:off x="449412" y="0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  <p:sp>
          <p:nvSpPr>
            <p:cNvPr id="23" name="Freihandform: Form 22"/>
            <p:cNvSpPr/>
            <p:nvPr userDrawn="1"/>
          </p:nvSpPr>
          <p:spPr bwMode="gray">
            <a:xfrm>
              <a:off x="5950099" y="0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  <p:sp>
          <p:nvSpPr>
            <p:cNvPr id="24" name="Freihandform: Form 23"/>
            <p:cNvSpPr/>
            <p:nvPr userDrawn="1"/>
          </p:nvSpPr>
          <p:spPr bwMode="gray">
            <a:xfrm>
              <a:off x="6242050" y="0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  <p:sp>
          <p:nvSpPr>
            <p:cNvPr id="25" name="Freihandform: Form 24"/>
            <p:cNvSpPr/>
            <p:nvPr userDrawn="1"/>
          </p:nvSpPr>
          <p:spPr bwMode="gray">
            <a:xfrm>
              <a:off x="11750215" y="0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</p:grpSp>
      <p:grpSp>
        <p:nvGrpSpPr>
          <p:cNvPr id="26" name="Gruppieren 25"/>
          <p:cNvGrpSpPr/>
          <p:nvPr userDrawn="1"/>
        </p:nvGrpSpPr>
        <p:grpSpPr bwMode="gray">
          <a:xfrm>
            <a:off x="449295" y="6903684"/>
            <a:ext cx="11297861" cy="108000"/>
            <a:chOff x="449412" y="0"/>
            <a:chExt cx="11300803" cy="108000"/>
          </a:xfrm>
        </p:grpSpPr>
        <p:sp>
          <p:nvSpPr>
            <p:cNvPr id="28" name="Freihandform: Form 27"/>
            <p:cNvSpPr/>
            <p:nvPr userDrawn="1"/>
          </p:nvSpPr>
          <p:spPr bwMode="gray">
            <a:xfrm>
              <a:off x="449412" y="0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  <p:sp>
          <p:nvSpPr>
            <p:cNvPr id="29" name="Freihandform: Form 28"/>
            <p:cNvSpPr/>
            <p:nvPr userDrawn="1"/>
          </p:nvSpPr>
          <p:spPr bwMode="gray">
            <a:xfrm>
              <a:off x="5950099" y="0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  <p:sp>
          <p:nvSpPr>
            <p:cNvPr id="30" name="Freihandform: Form 29"/>
            <p:cNvSpPr/>
            <p:nvPr userDrawn="1"/>
          </p:nvSpPr>
          <p:spPr bwMode="gray">
            <a:xfrm>
              <a:off x="6242050" y="0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  <p:sp>
          <p:nvSpPr>
            <p:cNvPr id="31" name="Freihandform: Form 30"/>
            <p:cNvSpPr/>
            <p:nvPr userDrawn="1"/>
          </p:nvSpPr>
          <p:spPr bwMode="gray">
            <a:xfrm>
              <a:off x="11750215" y="0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</p:grpSp>
      <p:grpSp>
        <p:nvGrpSpPr>
          <p:cNvPr id="32" name="Gruppieren 31"/>
          <p:cNvGrpSpPr/>
          <p:nvPr userDrawn="1"/>
        </p:nvGrpSpPr>
        <p:grpSpPr>
          <a:xfrm>
            <a:off x="-149354" y="1664804"/>
            <a:ext cx="107973" cy="4500500"/>
            <a:chOff x="-149393" y="1664804"/>
            <a:chExt cx="108001" cy="4500500"/>
          </a:xfrm>
        </p:grpSpPr>
        <p:sp>
          <p:nvSpPr>
            <p:cNvPr id="33" name="Freihandform: Form 32"/>
            <p:cNvSpPr/>
            <p:nvPr userDrawn="1"/>
          </p:nvSpPr>
          <p:spPr>
            <a:xfrm rot="16200000">
              <a:off x="-95392" y="6111304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  <p:sp>
          <p:nvSpPr>
            <p:cNvPr id="34" name="Freihandform: Form 33"/>
            <p:cNvSpPr/>
            <p:nvPr userDrawn="1"/>
          </p:nvSpPr>
          <p:spPr>
            <a:xfrm rot="16200000">
              <a:off x="-95393" y="1610804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</p:grpSp>
      <p:grpSp>
        <p:nvGrpSpPr>
          <p:cNvPr id="35" name="Gruppieren 34"/>
          <p:cNvGrpSpPr/>
          <p:nvPr userDrawn="1"/>
        </p:nvGrpSpPr>
        <p:grpSpPr bwMode="gray">
          <a:xfrm>
            <a:off x="12233381" y="1664804"/>
            <a:ext cx="107973" cy="4500500"/>
            <a:chOff x="-149393" y="1664804"/>
            <a:chExt cx="108001" cy="4500500"/>
          </a:xfrm>
        </p:grpSpPr>
        <p:sp>
          <p:nvSpPr>
            <p:cNvPr id="36" name="Freihandform: Form 35"/>
            <p:cNvSpPr/>
            <p:nvPr userDrawn="1"/>
          </p:nvSpPr>
          <p:spPr bwMode="gray">
            <a:xfrm rot="16200000">
              <a:off x="-95392" y="6111304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  <p:sp>
          <p:nvSpPr>
            <p:cNvPr id="37" name="Freihandform: Form 36"/>
            <p:cNvSpPr/>
            <p:nvPr userDrawn="1"/>
          </p:nvSpPr>
          <p:spPr bwMode="gray">
            <a:xfrm rot="16200000">
              <a:off x="-95393" y="1610804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</p:grpSp>
      <p:sp>
        <p:nvSpPr>
          <p:cNvPr id="27" name="Rechteck 26"/>
          <p:cNvSpPr/>
          <p:nvPr userDrawn="1"/>
        </p:nvSpPr>
        <p:spPr>
          <a:xfrm>
            <a:off x="442913" y="6363099"/>
            <a:ext cx="11304587" cy="10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000" indent="-180000" algn="l">
              <a:lnSpc>
                <a:spcPts val="2000"/>
              </a:lnSpc>
              <a:spcBef>
                <a:spcPts val="400"/>
              </a:spcBef>
              <a:buClr>
                <a:schemeClr val="bg1"/>
              </a:buClr>
              <a:buFont typeface="DFB Sans Ofc" panose="020B0503030500020204"/>
              <a:buChar char="›"/>
            </a:pPr>
            <a:endParaRPr lang="de-DE" sz="1600" dirty="0"/>
          </a:p>
        </p:txBody>
      </p:sp>
    </p:spTree>
    <p:extLst>
      <p:ext uri="{BB962C8B-B14F-4D97-AF65-F5344CB8AC3E}">
        <p14:creationId xmlns:p14="http://schemas.microsoft.com/office/powerpoint/2010/main" val="45126517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 bwMode="gray">
          <a:xfrm>
            <a:off x="444843" y="2480776"/>
            <a:ext cx="6658266" cy="1538883"/>
          </a:xfrm>
        </p:spPr>
        <p:txBody>
          <a:bodyPr/>
          <a:lstStyle>
            <a:lvl1pPr>
              <a:lnSpc>
                <a:spcPts val="4000"/>
              </a:lnSpc>
              <a:spcBef>
                <a:spcPts val="0"/>
              </a:spcBef>
              <a:defRPr sz="3699" cap="all" spc="4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 dirty="0"/>
              <a:t>Formatvorlagen des Textmasters bearbeiten</a:t>
            </a:r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7486"/>
          <a:stretch/>
        </p:blipFill>
        <p:spPr bwMode="gray">
          <a:xfrm>
            <a:off x="5466164" y="563254"/>
            <a:ext cx="1259672" cy="993539"/>
          </a:xfrm>
          <a:prstGeom prst="rect">
            <a:avLst/>
          </a:prstGeom>
        </p:spPr>
      </p:pic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0B13105C-3C8B-45E4-B078-C237EB3B60EA}" type="datetime1">
              <a:rPr lang="de-DE" noProof="0" smtClean="0"/>
              <a:t>08.01.2022</a:t>
            </a:fld>
            <a:endParaRPr lang="de-DE" noProof="0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 noProof="0" dirty="0"/>
              <a:t>/  Styleguide, Musterfolien für Präsentation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de-DE" noProof="0" dirty="0"/>
              <a:t>Seite </a:t>
            </a:r>
            <a:fld id="{105F6080-11B6-4F5B-BFCF-ADAD48E4948B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grpSp>
        <p:nvGrpSpPr>
          <p:cNvPr id="13" name="Gruppieren 12"/>
          <p:cNvGrpSpPr/>
          <p:nvPr userDrawn="1"/>
        </p:nvGrpSpPr>
        <p:grpSpPr bwMode="gray">
          <a:xfrm>
            <a:off x="449295" y="-153684"/>
            <a:ext cx="11297861" cy="108000"/>
            <a:chOff x="449412" y="0"/>
            <a:chExt cx="11300803" cy="108000"/>
          </a:xfrm>
        </p:grpSpPr>
        <p:sp>
          <p:nvSpPr>
            <p:cNvPr id="15" name="Freihandform: Form 14"/>
            <p:cNvSpPr/>
            <p:nvPr userDrawn="1"/>
          </p:nvSpPr>
          <p:spPr bwMode="gray">
            <a:xfrm>
              <a:off x="449412" y="0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  <p:sp>
          <p:nvSpPr>
            <p:cNvPr id="16" name="Freihandform: Form 15"/>
            <p:cNvSpPr/>
            <p:nvPr userDrawn="1"/>
          </p:nvSpPr>
          <p:spPr bwMode="gray">
            <a:xfrm>
              <a:off x="5950099" y="0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  <p:sp>
          <p:nvSpPr>
            <p:cNvPr id="17" name="Freihandform: Form 16"/>
            <p:cNvSpPr/>
            <p:nvPr userDrawn="1"/>
          </p:nvSpPr>
          <p:spPr bwMode="gray">
            <a:xfrm>
              <a:off x="6242050" y="0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  <p:sp>
          <p:nvSpPr>
            <p:cNvPr id="18" name="Freihandform: Form 17"/>
            <p:cNvSpPr/>
            <p:nvPr userDrawn="1"/>
          </p:nvSpPr>
          <p:spPr bwMode="gray">
            <a:xfrm>
              <a:off x="11750215" y="0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</p:grpSp>
      <p:grpSp>
        <p:nvGrpSpPr>
          <p:cNvPr id="19" name="Gruppieren 18"/>
          <p:cNvGrpSpPr/>
          <p:nvPr userDrawn="1"/>
        </p:nvGrpSpPr>
        <p:grpSpPr bwMode="gray">
          <a:xfrm>
            <a:off x="449295" y="6903684"/>
            <a:ext cx="11297861" cy="108000"/>
            <a:chOff x="449412" y="0"/>
            <a:chExt cx="11300803" cy="108000"/>
          </a:xfrm>
        </p:grpSpPr>
        <p:sp>
          <p:nvSpPr>
            <p:cNvPr id="21" name="Freihandform: Form 20"/>
            <p:cNvSpPr/>
            <p:nvPr userDrawn="1"/>
          </p:nvSpPr>
          <p:spPr bwMode="gray">
            <a:xfrm>
              <a:off x="449412" y="0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  <p:sp>
          <p:nvSpPr>
            <p:cNvPr id="22" name="Freihandform: Form 21"/>
            <p:cNvSpPr/>
            <p:nvPr userDrawn="1"/>
          </p:nvSpPr>
          <p:spPr bwMode="gray">
            <a:xfrm>
              <a:off x="5950099" y="0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  <p:sp>
          <p:nvSpPr>
            <p:cNvPr id="23" name="Freihandform: Form 22"/>
            <p:cNvSpPr/>
            <p:nvPr userDrawn="1"/>
          </p:nvSpPr>
          <p:spPr bwMode="gray">
            <a:xfrm>
              <a:off x="6242050" y="0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  <p:sp>
          <p:nvSpPr>
            <p:cNvPr id="24" name="Freihandform: Form 23"/>
            <p:cNvSpPr/>
            <p:nvPr userDrawn="1"/>
          </p:nvSpPr>
          <p:spPr bwMode="gray">
            <a:xfrm>
              <a:off x="11750215" y="0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</p:grpSp>
      <p:grpSp>
        <p:nvGrpSpPr>
          <p:cNvPr id="25" name="Gruppieren 24"/>
          <p:cNvGrpSpPr/>
          <p:nvPr userDrawn="1"/>
        </p:nvGrpSpPr>
        <p:grpSpPr>
          <a:xfrm>
            <a:off x="-149354" y="1664804"/>
            <a:ext cx="107973" cy="4500500"/>
            <a:chOff x="-149393" y="1664804"/>
            <a:chExt cx="108001" cy="4500500"/>
          </a:xfrm>
        </p:grpSpPr>
        <p:sp>
          <p:nvSpPr>
            <p:cNvPr id="26" name="Freihandform: Form 25"/>
            <p:cNvSpPr/>
            <p:nvPr userDrawn="1"/>
          </p:nvSpPr>
          <p:spPr>
            <a:xfrm rot="16200000">
              <a:off x="-95392" y="6111304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  <p:sp>
          <p:nvSpPr>
            <p:cNvPr id="27" name="Freihandform: Form 26"/>
            <p:cNvSpPr/>
            <p:nvPr userDrawn="1"/>
          </p:nvSpPr>
          <p:spPr>
            <a:xfrm rot="16200000">
              <a:off x="-95393" y="1610804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</p:grpSp>
      <p:grpSp>
        <p:nvGrpSpPr>
          <p:cNvPr id="28" name="Gruppieren 27"/>
          <p:cNvGrpSpPr/>
          <p:nvPr userDrawn="1"/>
        </p:nvGrpSpPr>
        <p:grpSpPr bwMode="gray">
          <a:xfrm>
            <a:off x="12233381" y="1664804"/>
            <a:ext cx="107973" cy="4500500"/>
            <a:chOff x="-149393" y="1664804"/>
            <a:chExt cx="108001" cy="4500500"/>
          </a:xfrm>
        </p:grpSpPr>
        <p:sp>
          <p:nvSpPr>
            <p:cNvPr id="29" name="Freihandform: Form 28"/>
            <p:cNvSpPr/>
            <p:nvPr userDrawn="1"/>
          </p:nvSpPr>
          <p:spPr bwMode="gray">
            <a:xfrm rot="16200000">
              <a:off x="-95392" y="6111304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  <p:sp>
          <p:nvSpPr>
            <p:cNvPr id="30" name="Freihandform: Form 29"/>
            <p:cNvSpPr/>
            <p:nvPr userDrawn="1"/>
          </p:nvSpPr>
          <p:spPr bwMode="gray">
            <a:xfrm rot="16200000">
              <a:off x="-95393" y="1610804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</p:grpSp>
      <p:sp>
        <p:nvSpPr>
          <p:cNvPr id="36" name="Bildplatzhalter 35"/>
          <p:cNvSpPr>
            <a:spLocks noGrp="1"/>
          </p:cNvSpPr>
          <p:nvPr>
            <p:ph type="pic" sz="quarter" idx="18"/>
          </p:nvPr>
        </p:nvSpPr>
        <p:spPr bwMode="gray">
          <a:xfrm>
            <a:off x="7779549" y="0"/>
            <a:ext cx="4412451" cy="6858000"/>
          </a:xfrm>
          <a:custGeom>
            <a:avLst/>
            <a:gdLst>
              <a:gd name="connsiteX0" fmla="*/ 0 w 4412451"/>
              <a:gd name="connsiteY0" fmla="*/ 6373899 h 6858000"/>
              <a:gd name="connsiteX1" fmla="*/ 2957220 w 4412451"/>
              <a:gd name="connsiteY1" fmla="*/ 6373899 h 6858000"/>
              <a:gd name="connsiteX2" fmla="*/ 3056055 w 4412451"/>
              <a:gd name="connsiteY2" fmla="*/ 6521252 h 6858000"/>
              <a:gd name="connsiteX3" fmla="*/ 3170767 w 4412451"/>
              <a:gd name="connsiteY3" fmla="*/ 6717625 h 6858000"/>
              <a:gd name="connsiteX4" fmla="*/ 3238372 w 4412451"/>
              <a:gd name="connsiteY4" fmla="*/ 6858000 h 6858000"/>
              <a:gd name="connsiteX5" fmla="*/ 0 w 4412451"/>
              <a:gd name="connsiteY5" fmla="*/ 6858000 h 6858000"/>
              <a:gd name="connsiteX6" fmla="*/ 0 w 4412451"/>
              <a:gd name="connsiteY6" fmla="*/ 4806776 h 6858000"/>
              <a:gd name="connsiteX7" fmla="*/ 216478 w 4412451"/>
              <a:gd name="connsiteY7" fmla="*/ 4814300 h 6858000"/>
              <a:gd name="connsiteX8" fmla="*/ 2929724 w 4412451"/>
              <a:gd name="connsiteY8" fmla="*/ 6332906 h 6858000"/>
              <a:gd name="connsiteX9" fmla="*/ 2949976 w 4412451"/>
              <a:gd name="connsiteY9" fmla="*/ 6363099 h 6858000"/>
              <a:gd name="connsiteX10" fmla="*/ 0 w 4412451"/>
              <a:gd name="connsiteY10" fmla="*/ 6363099 h 6858000"/>
              <a:gd name="connsiteX11" fmla="*/ 0 w 4412451"/>
              <a:gd name="connsiteY11" fmla="*/ 0 h 6858000"/>
              <a:gd name="connsiteX12" fmla="*/ 4412451 w 4412451"/>
              <a:gd name="connsiteY12" fmla="*/ 0 h 6858000"/>
              <a:gd name="connsiteX13" fmla="*/ 4412451 w 4412451"/>
              <a:gd name="connsiteY13" fmla="*/ 6858000 h 6858000"/>
              <a:gd name="connsiteX14" fmla="*/ 3302920 w 4412451"/>
              <a:gd name="connsiteY14" fmla="*/ 6858000 h 6858000"/>
              <a:gd name="connsiteX15" fmla="*/ 3300103 w 4412451"/>
              <a:gd name="connsiteY15" fmla="*/ 6851767 h 6858000"/>
              <a:gd name="connsiteX16" fmla="*/ 3062677 w 4412451"/>
              <a:gd name="connsiteY16" fmla="*/ 6431473 h 6858000"/>
              <a:gd name="connsiteX17" fmla="*/ 3022289 w 4412451"/>
              <a:gd name="connsiteY17" fmla="*/ 6373899 h 6858000"/>
              <a:gd name="connsiteX18" fmla="*/ 3967951 w 4412451"/>
              <a:gd name="connsiteY18" fmla="*/ 6373899 h 6858000"/>
              <a:gd name="connsiteX19" fmla="*/ 3967951 w 4412451"/>
              <a:gd name="connsiteY19" fmla="*/ 6363099 h 6858000"/>
              <a:gd name="connsiteX20" fmla="*/ 3014713 w 4412451"/>
              <a:gd name="connsiteY20" fmla="*/ 6363099 h 6858000"/>
              <a:gd name="connsiteX21" fmla="*/ 2924608 w 4412451"/>
              <a:gd name="connsiteY21" fmla="*/ 6234654 h 6858000"/>
              <a:gd name="connsiteX22" fmla="*/ 232071 w 4412451"/>
              <a:gd name="connsiteY22" fmla="*/ 4761273 h 6858000"/>
              <a:gd name="connsiteX23" fmla="*/ 0 w 4412451"/>
              <a:gd name="connsiteY23" fmla="*/ 475284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4412451" h="6858000">
                <a:moveTo>
                  <a:pt x="0" y="6373899"/>
                </a:moveTo>
                <a:lnTo>
                  <a:pt x="2957220" y="6373899"/>
                </a:lnTo>
                <a:lnTo>
                  <a:pt x="3056055" y="6521252"/>
                </a:lnTo>
                <a:cubicBezTo>
                  <a:pt x="3096256" y="6585399"/>
                  <a:pt x="3134521" y="6650884"/>
                  <a:pt x="3170767" y="6717625"/>
                </a:cubicBezTo>
                <a:lnTo>
                  <a:pt x="3238372" y="6858000"/>
                </a:lnTo>
                <a:lnTo>
                  <a:pt x="0" y="6858000"/>
                </a:lnTo>
                <a:close/>
                <a:moveTo>
                  <a:pt x="0" y="4806776"/>
                </a:moveTo>
                <a:lnTo>
                  <a:pt x="216478" y="4814300"/>
                </a:lnTo>
                <a:cubicBezTo>
                  <a:pt x="1334471" y="4892283"/>
                  <a:pt x="2313836" y="5473453"/>
                  <a:pt x="2929724" y="6332906"/>
                </a:cubicBezTo>
                <a:lnTo>
                  <a:pt x="2949976" y="6363099"/>
                </a:lnTo>
                <a:lnTo>
                  <a:pt x="0" y="6363099"/>
                </a:lnTo>
                <a:close/>
                <a:moveTo>
                  <a:pt x="0" y="0"/>
                </a:moveTo>
                <a:lnTo>
                  <a:pt x="4412451" y="0"/>
                </a:lnTo>
                <a:lnTo>
                  <a:pt x="4412451" y="6858000"/>
                </a:lnTo>
                <a:lnTo>
                  <a:pt x="3302920" y="6858000"/>
                </a:lnTo>
                <a:lnTo>
                  <a:pt x="3300103" y="6851767"/>
                </a:lnTo>
                <a:cubicBezTo>
                  <a:pt x="3229944" y="6706126"/>
                  <a:pt x="3150549" y="6565775"/>
                  <a:pt x="3062677" y="6431473"/>
                </a:cubicBezTo>
                <a:lnTo>
                  <a:pt x="3022289" y="6373899"/>
                </a:lnTo>
                <a:lnTo>
                  <a:pt x="3967951" y="6373899"/>
                </a:lnTo>
                <a:lnTo>
                  <a:pt x="3967951" y="6363099"/>
                </a:lnTo>
                <a:lnTo>
                  <a:pt x="3014713" y="6363099"/>
                </a:lnTo>
                <a:lnTo>
                  <a:pt x="2924608" y="6234654"/>
                </a:lnTo>
                <a:cubicBezTo>
                  <a:pt x="2299581" y="5402254"/>
                  <a:pt x="1332486" y="4841526"/>
                  <a:pt x="232071" y="4761273"/>
                </a:cubicBezTo>
                <a:lnTo>
                  <a:pt x="0" y="4752842"/>
                </a:lnTo>
                <a:close/>
              </a:path>
            </a:pathLst>
          </a:custGeom>
          <a:noFill/>
        </p:spPr>
        <p:txBody>
          <a:bodyPr wrap="square" tIns="72000">
            <a:noAutofit/>
          </a:bodyPr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endParaRPr lang="de-DE" noProof="0" dirty="0"/>
          </a:p>
        </p:txBody>
      </p:sp>
      <p:sp>
        <p:nvSpPr>
          <p:cNvPr id="32" name="Rechteck 31"/>
          <p:cNvSpPr/>
          <p:nvPr userDrawn="1"/>
        </p:nvSpPr>
        <p:spPr bwMode="gray">
          <a:xfrm>
            <a:off x="7724239" y="0"/>
            <a:ext cx="53986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799" dirty="0"/>
          </a:p>
        </p:txBody>
      </p:sp>
      <p:sp>
        <p:nvSpPr>
          <p:cNvPr id="33" name="Freihandform: Form 32"/>
          <p:cNvSpPr>
            <a:spLocks noChangeAspect="1"/>
          </p:cNvSpPr>
          <p:nvPr userDrawn="1"/>
        </p:nvSpPr>
        <p:spPr bwMode="gray">
          <a:xfrm>
            <a:off x="4393872" y="4751338"/>
            <a:ext cx="6688596" cy="2106662"/>
          </a:xfrm>
          <a:custGeom>
            <a:avLst/>
            <a:gdLst>
              <a:gd name="connsiteX0" fmla="*/ 3345169 w 6690338"/>
              <a:gd name="connsiteY0" fmla="*/ 0 h 2106662"/>
              <a:gd name="connsiteX1" fmla="*/ 6687520 w 6690338"/>
              <a:gd name="connsiteY1" fmla="*/ 2100429 h 2106662"/>
              <a:gd name="connsiteX2" fmla="*/ 6690338 w 6690338"/>
              <a:gd name="connsiteY2" fmla="*/ 2106662 h 2106662"/>
              <a:gd name="connsiteX3" fmla="*/ 6625773 w 6690338"/>
              <a:gd name="connsiteY3" fmla="*/ 2106662 h 2106662"/>
              <a:gd name="connsiteX4" fmla="*/ 6558151 w 6690338"/>
              <a:gd name="connsiteY4" fmla="*/ 1966287 h 2106662"/>
              <a:gd name="connsiteX5" fmla="*/ 3345169 w 6690338"/>
              <a:gd name="connsiteY5" fmla="*/ 54000 h 2106662"/>
              <a:gd name="connsiteX6" fmla="*/ 132188 w 6690338"/>
              <a:gd name="connsiteY6" fmla="*/ 1966287 h 2106662"/>
              <a:gd name="connsiteX7" fmla="*/ 64565 w 6690338"/>
              <a:gd name="connsiteY7" fmla="*/ 2106662 h 2106662"/>
              <a:gd name="connsiteX8" fmla="*/ 0 w 6690338"/>
              <a:gd name="connsiteY8" fmla="*/ 2106662 h 2106662"/>
              <a:gd name="connsiteX9" fmla="*/ 2818 w 6690338"/>
              <a:gd name="connsiteY9" fmla="*/ 2100429 h 2106662"/>
              <a:gd name="connsiteX10" fmla="*/ 3345169 w 6690338"/>
              <a:gd name="connsiteY10" fmla="*/ 0 h 21066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6690338" h="2106662">
                <a:moveTo>
                  <a:pt x="3345169" y="0"/>
                </a:moveTo>
                <a:cubicBezTo>
                  <a:pt x="4817077" y="0"/>
                  <a:pt x="6088676" y="857625"/>
                  <a:pt x="6687520" y="2100429"/>
                </a:cubicBezTo>
                <a:lnTo>
                  <a:pt x="6690338" y="2106662"/>
                </a:lnTo>
                <a:lnTo>
                  <a:pt x="6625773" y="2106662"/>
                </a:lnTo>
                <a:lnTo>
                  <a:pt x="6558151" y="1966287"/>
                </a:lnTo>
                <a:cubicBezTo>
                  <a:pt x="5939385" y="827243"/>
                  <a:pt x="4732577" y="54000"/>
                  <a:pt x="3345169" y="54000"/>
                </a:cubicBezTo>
                <a:cubicBezTo>
                  <a:pt x="1957761" y="54000"/>
                  <a:pt x="750953" y="827243"/>
                  <a:pt x="132188" y="1966287"/>
                </a:cubicBezTo>
                <a:lnTo>
                  <a:pt x="64565" y="2106662"/>
                </a:lnTo>
                <a:lnTo>
                  <a:pt x="0" y="2106662"/>
                </a:lnTo>
                <a:lnTo>
                  <a:pt x="2818" y="2100429"/>
                </a:lnTo>
                <a:cubicBezTo>
                  <a:pt x="601663" y="857625"/>
                  <a:pt x="1873261" y="0"/>
                  <a:pt x="3345169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799" dirty="0"/>
          </a:p>
        </p:txBody>
      </p:sp>
      <p:sp>
        <p:nvSpPr>
          <p:cNvPr id="34" name="Rechteck 33"/>
          <p:cNvSpPr/>
          <p:nvPr userDrawn="1"/>
        </p:nvSpPr>
        <p:spPr>
          <a:xfrm>
            <a:off x="442913" y="6363099"/>
            <a:ext cx="11304587" cy="10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000" indent="-180000" algn="l">
              <a:lnSpc>
                <a:spcPts val="2000"/>
              </a:lnSpc>
              <a:spcBef>
                <a:spcPts val="400"/>
              </a:spcBef>
              <a:buClr>
                <a:schemeClr val="bg1"/>
              </a:buClr>
              <a:buFont typeface="DFB Sans Ofc" panose="020B0503030500020204"/>
              <a:buChar char="›"/>
            </a:pPr>
            <a:endParaRPr lang="de-DE" sz="1600" dirty="0"/>
          </a:p>
        </p:txBody>
      </p:sp>
    </p:spTree>
    <p:extLst>
      <p:ext uri="{BB962C8B-B14F-4D97-AF65-F5344CB8AC3E}">
        <p14:creationId xmlns:p14="http://schemas.microsoft.com/office/powerpoint/2010/main" val="214405870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444843" y="712800"/>
            <a:ext cx="10113366" cy="743793"/>
          </a:xfrm>
        </p:spPr>
        <p:txBody>
          <a:bodyPr/>
          <a:lstStyle/>
          <a:p>
            <a:r>
              <a:rPr lang="de-DE" noProof="0" dirty="0"/>
              <a:t>Titelmasterformat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C5293E3B-819C-4822-B85F-53FD541430B7}" type="datetime1">
              <a:rPr lang="de-DE" noProof="0" smtClean="0"/>
              <a:t>08.01.2022</a:t>
            </a:fld>
            <a:endParaRPr lang="de-DE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 noProof="0" dirty="0"/>
              <a:t>/  Styleguide, Musterfolien für Präsentation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de-DE" noProof="0" dirty="0"/>
              <a:t>Seite </a:t>
            </a:r>
            <a:fld id="{105F6080-11B6-4F5B-BFCF-ADAD48E4948B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/>
          </p:nvPr>
        </p:nvSpPr>
        <p:spPr bwMode="gray">
          <a:xfrm>
            <a:off x="444843" y="1616401"/>
            <a:ext cx="11301057" cy="615553"/>
          </a:xfrm>
        </p:spPr>
        <p:txBody>
          <a:bodyPr/>
          <a:lstStyle>
            <a:lvl1pPr marL="269794" indent="-269794">
              <a:buFont typeface="+mj-lt"/>
              <a:buAutoNum type="arabicPeriod"/>
              <a:defRPr/>
            </a:lvl1pPr>
            <a:lvl2pPr marL="269794" indent="0">
              <a:defRPr/>
            </a:lvl2pPr>
          </a:lstStyle>
          <a:p>
            <a:pPr lvl="0"/>
            <a:r>
              <a:rPr lang="de-DE" noProof="0" dirty="0"/>
              <a:t>Formatvorlagen des Textmasters bearbeiten</a:t>
            </a:r>
          </a:p>
          <a:p>
            <a:pPr lvl="1"/>
            <a:r>
              <a:rPr lang="de-DE" noProof="0" dirty="0"/>
              <a:t>Zweite Ebene</a:t>
            </a:r>
          </a:p>
        </p:txBody>
      </p:sp>
      <p:sp>
        <p:nvSpPr>
          <p:cNvPr id="8" name="Textplatzhalt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444843" y="433236"/>
            <a:ext cx="10114504" cy="18466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200" b="1" u="sng" cap="all" spc="190" baseline="0">
                <a:solidFill>
                  <a:schemeClr val="tx1"/>
                </a:solidFill>
                <a:uFill>
                  <a:solidFill>
                    <a:schemeClr val="accent2"/>
                  </a:solidFill>
                </a:uFill>
              </a:defRPr>
            </a:lvl1pPr>
          </a:lstStyle>
          <a:p>
            <a:pPr lvl="0"/>
            <a:r>
              <a:rPr lang="de-DE" dirty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7350626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446284" y="712800"/>
            <a:ext cx="10113366" cy="743793"/>
          </a:xfrm>
        </p:spPr>
        <p:txBody>
          <a:bodyPr/>
          <a:lstStyle/>
          <a:p>
            <a:r>
              <a:rPr lang="de-DE" noProof="0" dirty="0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gray">
          <a:xfrm>
            <a:off x="446284" y="1616607"/>
            <a:ext cx="11301057" cy="1641475"/>
          </a:xfrm>
        </p:spPr>
        <p:txBody>
          <a:bodyPr/>
          <a:lstStyle/>
          <a:p>
            <a:pPr lvl="0"/>
            <a:r>
              <a:rPr lang="de-DE" noProof="0" dirty="0"/>
              <a:t>Textmasterformat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A4578BCA-74A2-453D-AAE6-F41C98EAC24F}" type="datetime1">
              <a:rPr lang="de-DE" noProof="0" smtClean="0"/>
              <a:t>08.01.2022</a:t>
            </a:fld>
            <a:endParaRPr lang="de-DE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 noProof="0" dirty="0"/>
              <a:t>/  Styleguide, Musterfolien für Präsentation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de-DE" noProof="0" dirty="0"/>
              <a:t>Seite </a:t>
            </a:r>
            <a:fld id="{105F6080-11B6-4F5B-BFCF-ADAD48E4948B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8" name="Textplatzhalt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444843" y="432000"/>
            <a:ext cx="10114504" cy="18466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200" b="1" u="sng" cap="all" spc="190" baseline="0">
                <a:solidFill>
                  <a:schemeClr val="tx1"/>
                </a:solidFill>
                <a:uFill>
                  <a:solidFill>
                    <a:schemeClr val="accent2"/>
                  </a:solidFill>
                </a:uFill>
              </a:defRPr>
            </a:lvl1pPr>
          </a:lstStyle>
          <a:p>
            <a:pPr lvl="0"/>
            <a:r>
              <a:rPr lang="de-DE" dirty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123338608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m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444843" y="712800"/>
            <a:ext cx="10113366" cy="743793"/>
          </a:xfrm>
        </p:spPr>
        <p:txBody>
          <a:bodyPr/>
          <a:lstStyle/>
          <a:p>
            <a:r>
              <a:rPr lang="de-DE" noProof="0" dirty="0"/>
              <a:t>Titelmasterformat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B64CC23D-F9AF-4F67-B68D-5A257C4C769A}" type="datetime1">
              <a:rPr lang="de-DE" noProof="0" smtClean="0"/>
              <a:t>08.01.2022</a:t>
            </a:fld>
            <a:endParaRPr lang="de-DE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 noProof="0" dirty="0"/>
              <a:t>/  Styleguide, Musterfolien für Präsentation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de-DE" noProof="0" dirty="0"/>
              <a:t>Seite </a:t>
            </a:r>
            <a:fld id="{105F6080-11B6-4F5B-BFCF-ADAD48E4948B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10" name="Textplatzhalter 8"/>
          <p:cNvSpPr>
            <a:spLocks noGrp="1"/>
          </p:cNvSpPr>
          <p:nvPr>
            <p:ph type="body" sz="quarter" idx="16"/>
          </p:nvPr>
        </p:nvSpPr>
        <p:spPr bwMode="gray">
          <a:xfrm>
            <a:off x="444843" y="1616606"/>
            <a:ext cx="5506732" cy="256480"/>
          </a:xfrm>
        </p:spPr>
        <p:txBody>
          <a:bodyPr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de-DE" noProof="0" dirty="0"/>
              <a:t>Formatvorlagen des Textmasters bearbeiten</a:t>
            </a:r>
          </a:p>
        </p:txBody>
      </p:sp>
      <p:sp>
        <p:nvSpPr>
          <p:cNvPr id="11" name="Textplatzhalter 8"/>
          <p:cNvSpPr>
            <a:spLocks noGrp="1"/>
          </p:cNvSpPr>
          <p:nvPr>
            <p:ph type="body" sz="quarter" idx="17"/>
          </p:nvPr>
        </p:nvSpPr>
        <p:spPr bwMode="gray">
          <a:xfrm>
            <a:off x="444843" y="1972173"/>
            <a:ext cx="5506732" cy="256480"/>
          </a:xfrm>
        </p:spPr>
        <p:txBody>
          <a:bodyPr/>
          <a:lstStyle>
            <a:lvl1pPr>
              <a:spcBef>
                <a:spcPts val="0"/>
              </a:spcBef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 dirty="0"/>
              <a:t>Formatvorlagen des Textmasters bearbeiten</a:t>
            </a:r>
          </a:p>
        </p:txBody>
      </p:sp>
      <p:sp>
        <p:nvSpPr>
          <p:cNvPr id="12" name="Textplatzhalter 8"/>
          <p:cNvSpPr>
            <a:spLocks noGrp="1"/>
          </p:cNvSpPr>
          <p:nvPr>
            <p:ph type="body" sz="quarter" idx="18"/>
          </p:nvPr>
        </p:nvSpPr>
        <p:spPr bwMode="gray">
          <a:xfrm>
            <a:off x="444843" y="6066293"/>
            <a:ext cx="11301057" cy="123111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defRPr sz="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 dirty="0"/>
              <a:t>Formatvorlagen des Textmasters bearbeiten</a:t>
            </a:r>
          </a:p>
        </p:txBody>
      </p:sp>
      <p:sp>
        <p:nvSpPr>
          <p:cNvPr id="16" name="Diagrammplatzhalter 15"/>
          <p:cNvSpPr>
            <a:spLocks noGrp="1"/>
          </p:cNvSpPr>
          <p:nvPr>
            <p:ph type="chart" sz="quarter" idx="19"/>
          </p:nvPr>
        </p:nvSpPr>
        <p:spPr bwMode="gray">
          <a:xfrm>
            <a:off x="444843" y="2349500"/>
            <a:ext cx="5506732" cy="363537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b="0">
                <a:solidFill>
                  <a:schemeClr val="tx1"/>
                </a:solidFill>
              </a:defRPr>
            </a:lvl1pPr>
          </a:lstStyle>
          <a:p>
            <a:endParaRPr lang="de-DE" noProof="0" dirty="0"/>
          </a:p>
        </p:txBody>
      </p:sp>
      <p:sp>
        <p:nvSpPr>
          <p:cNvPr id="13" name="Textplatzhalter 8"/>
          <p:cNvSpPr>
            <a:spLocks noGrp="1"/>
          </p:cNvSpPr>
          <p:nvPr>
            <p:ph type="body" sz="quarter" idx="20"/>
          </p:nvPr>
        </p:nvSpPr>
        <p:spPr bwMode="gray">
          <a:xfrm>
            <a:off x="6250554" y="2349500"/>
            <a:ext cx="5506566" cy="192360"/>
          </a:xfrm>
        </p:spPr>
        <p:txBody>
          <a:bodyPr anchor="t" anchorCtr="0"/>
          <a:lstStyle>
            <a:lvl1pPr>
              <a:lnSpc>
                <a:spcPts val="1500"/>
              </a:lnSpc>
              <a:spcBef>
                <a:spcPts val="0"/>
              </a:spcBef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 dirty="0"/>
              <a:t>Formatvorlagen des Textmasters bearbeiten</a:t>
            </a: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21" hasCustomPrompt="1"/>
          </p:nvPr>
        </p:nvSpPr>
        <p:spPr>
          <a:xfrm>
            <a:off x="444843" y="432000"/>
            <a:ext cx="10114504" cy="18466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200" b="1" u="sng" cap="all" spc="190" baseline="0">
                <a:solidFill>
                  <a:schemeClr val="tx1"/>
                </a:solidFill>
                <a:uFill>
                  <a:solidFill>
                    <a:schemeClr val="accent2"/>
                  </a:solidFill>
                </a:uFill>
              </a:defRPr>
            </a:lvl1pPr>
          </a:lstStyle>
          <a:p>
            <a:pPr lvl="0"/>
            <a:r>
              <a:rPr lang="de-DE" dirty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102172162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446284" y="712800"/>
            <a:ext cx="10113366" cy="743793"/>
          </a:xfrm>
        </p:spPr>
        <p:txBody>
          <a:bodyPr/>
          <a:lstStyle/>
          <a:p>
            <a:r>
              <a:rPr lang="de-DE" noProof="0" dirty="0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D44B54E8-F9D6-4B2A-A0C5-E01D4176BB63}" type="datetime1">
              <a:rPr lang="de-DE" noProof="0" smtClean="0"/>
              <a:t>08.01.2022</a:t>
            </a:fld>
            <a:endParaRPr lang="de-DE" noProof="0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 noProof="0" dirty="0"/>
              <a:t>/  Styleguide, Musterfolien für Präsentatione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de-DE" noProof="0" dirty="0"/>
              <a:t>Seite </a:t>
            </a:r>
            <a:fld id="{105F6080-11B6-4F5B-BFCF-ADAD48E4948B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6"/>
          </p:nvPr>
        </p:nvSpPr>
        <p:spPr bwMode="gray">
          <a:xfrm>
            <a:off x="446284" y="1665288"/>
            <a:ext cx="11301057" cy="4500562"/>
          </a:xfrm>
          <a:noFill/>
        </p:spPr>
        <p:txBody>
          <a:bodyPr tIns="72000">
            <a:noAutofit/>
          </a:bodyPr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endParaRPr lang="de-DE" noProof="0" dirty="0"/>
          </a:p>
        </p:txBody>
      </p:sp>
      <p:sp>
        <p:nvSpPr>
          <p:cNvPr id="8" name="Textplatzhalter 13"/>
          <p:cNvSpPr>
            <a:spLocks noGrp="1"/>
          </p:cNvSpPr>
          <p:nvPr>
            <p:ph type="body" sz="quarter" idx="17" hasCustomPrompt="1"/>
          </p:nvPr>
        </p:nvSpPr>
        <p:spPr>
          <a:xfrm>
            <a:off x="444843" y="432000"/>
            <a:ext cx="10114504" cy="18466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200" b="1" u="sng" cap="all" spc="190" baseline="0">
                <a:solidFill>
                  <a:schemeClr val="tx1"/>
                </a:solidFill>
                <a:uFill>
                  <a:solidFill>
                    <a:schemeClr val="accent2"/>
                  </a:solidFill>
                </a:uFill>
              </a:defRPr>
            </a:lvl1pPr>
          </a:lstStyle>
          <a:p>
            <a:pPr lvl="0"/>
            <a:r>
              <a:rPr lang="de-DE" dirty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28417013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2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446284" y="712800"/>
            <a:ext cx="10113366" cy="743793"/>
          </a:xfrm>
        </p:spPr>
        <p:txBody>
          <a:bodyPr/>
          <a:lstStyle/>
          <a:p>
            <a:r>
              <a:rPr lang="de-DE" noProof="0" dirty="0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EC9DDDE2-0A25-48DE-A3F2-37964B61F751}" type="datetime1">
              <a:rPr lang="de-DE" noProof="0" smtClean="0"/>
              <a:t>08.01.2022</a:t>
            </a:fld>
            <a:endParaRPr lang="de-DE" noProof="0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 noProof="0" dirty="0"/>
              <a:t>/  Styleguide, Musterfolien für Präsentatione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de-DE" noProof="0" dirty="0"/>
              <a:t>Seite </a:t>
            </a:r>
            <a:fld id="{105F6080-11B6-4F5B-BFCF-ADAD48E4948B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6"/>
          </p:nvPr>
        </p:nvSpPr>
        <p:spPr bwMode="gray">
          <a:xfrm>
            <a:off x="446284" y="1665288"/>
            <a:ext cx="5506566" cy="4500562"/>
          </a:xfrm>
          <a:noFill/>
        </p:spPr>
        <p:txBody>
          <a:bodyPr tIns="72000">
            <a:noAutofit/>
          </a:bodyPr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endParaRPr lang="de-DE" noProof="0" dirty="0"/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7"/>
          </p:nvPr>
        </p:nvSpPr>
        <p:spPr bwMode="gray">
          <a:xfrm>
            <a:off x="6242805" y="1665288"/>
            <a:ext cx="5506566" cy="4500562"/>
          </a:xfrm>
          <a:noFill/>
        </p:spPr>
        <p:txBody>
          <a:bodyPr tIns="72000">
            <a:noAutofit/>
          </a:bodyPr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endParaRPr lang="de-DE" noProof="0" dirty="0"/>
          </a:p>
        </p:txBody>
      </p:sp>
      <p:sp>
        <p:nvSpPr>
          <p:cNvPr id="11" name="Textplatzhalter 13"/>
          <p:cNvSpPr>
            <a:spLocks noGrp="1"/>
          </p:cNvSpPr>
          <p:nvPr>
            <p:ph type="body" sz="quarter" idx="18" hasCustomPrompt="1"/>
          </p:nvPr>
        </p:nvSpPr>
        <p:spPr>
          <a:xfrm>
            <a:off x="444843" y="432000"/>
            <a:ext cx="10114504" cy="18466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200" b="1" u="sng" cap="all" spc="190" baseline="0">
                <a:solidFill>
                  <a:schemeClr val="tx1"/>
                </a:solidFill>
                <a:uFill>
                  <a:solidFill>
                    <a:schemeClr val="accent2"/>
                  </a:solidFill>
                </a:uFill>
              </a:defRPr>
            </a:lvl1pPr>
          </a:lstStyle>
          <a:p>
            <a:pPr lvl="0"/>
            <a:r>
              <a:rPr lang="de-DE" dirty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309440136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openxmlformats.org/officeDocument/2006/relationships/image" Target="../media/image2.w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3798502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7" name="think-cell Folie" r:id="rId18" imgW="276" imgH="275" progId="TCLayout.ActiveDocument.1">
                  <p:embed/>
                </p:oleObj>
              </mc:Choice>
              <mc:Fallback>
                <p:oleObj name="think-cell Folie" r:id="rId18" imgW="276" imgH="27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Rechteck 25"/>
          <p:cNvSpPr/>
          <p:nvPr userDrawn="1"/>
        </p:nvSpPr>
        <p:spPr>
          <a:xfrm>
            <a:off x="442913" y="6363099"/>
            <a:ext cx="11304587" cy="10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000" indent="-180000" algn="l">
              <a:lnSpc>
                <a:spcPts val="2000"/>
              </a:lnSpc>
              <a:spcBef>
                <a:spcPts val="400"/>
              </a:spcBef>
              <a:buClr>
                <a:schemeClr val="bg1"/>
              </a:buClr>
              <a:buFont typeface="DFB Sans Ofc" panose="020B0503030500020204"/>
              <a:buChar char="›"/>
            </a:pPr>
            <a:endParaRPr lang="de-DE" sz="1600" dirty="0"/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444843" y="712603"/>
            <a:ext cx="10113366" cy="74379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de-DE" noProof="0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444843" y="1616607"/>
            <a:ext cx="11301057" cy="164147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de-DE" noProof="0" dirty="0"/>
              <a:t>Textmasterformat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 bwMode="gray">
          <a:xfrm>
            <a:off x="444843" y="6498236"/>
            <a:ext cx="647831" cy="138499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7FE82EB9-2E9F-4CFC-99A8-720EBF4FBA9B}" type="datetime1">
              <a:rPr lang="de-DE" noProof="0" smtClean="0"/>
              <a:t>08.01.2022</a:t>
            </a:fld>
            <a:endParaRPr lang="de-DE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1099836" y="6498236"/>
            <a:ext cx="9897423" cy="138499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900" b="1">
                <a:solidFill>
                  <a:schemeClr val="tx1"/>
                </a:solidFill>
              </a:defRPr>
            </a:lvl1pPr>
          </a:lstStyle>
          <a:p>
            <a:r>
              <a:rPr lang="de-DE" noProof="0" dirty="0"/>
              <a:t>/  Styleguide, Musterfolien für Präsentation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1118775" y="6498236"/>
            <a:ext cx="627126" cy="1384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900" b="1">
                <a:solidFill>
                  <a:schemeClr val="accent2"/>
                </a:solidFill>
              </a:defRPr>
            </a:lvl1pPr>
          </a:lstStyle>
          <a:p>
            <a:r>
              <a:rPr lang="de-DE" dirty="0"/>
              <a:t>Seite </a:t>
            </a:r>
            <a:fld id="{105F6080-11B6-4F5B-BFCF-ADAD48E4948B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217" name="Grafik 216"/>
          <p:cNvPicPr>
            <a:picLocks noChangeAspect="1"/>
          </p:cNvPicPr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1029923" y="446570"/>
            <a:ext cx="719813" cy="719886"/>
          </a:xfrm>
          <a:prstGeom prst="rect">
            <a:avLst/>
          </a:prstGeom>
        </p:spPr>
      </p:pic>
      <p:grpSp>
        <p:nvGrpSpPr>
          <p:cNvPr id="226" name="Gruppieren 225"/>
          <p:cNvGrpSpPr/>
          <p:nvPr userDrawn="1"/>
        </p:nvGrpSpPr>
        <p:grpSpPr>
          <a:xfrm>
            <a:off x="449295" y="-153684"/>
            <a:ext cx="11297861" cy="108000"/>
            <a:chOff x="449412" y="0"/>
            <a:chExt cx="11300803" cy="108000"/>
          </a:xfrm>
        </p:grpSpPr>
        <p:sp>
          <p:nvSpPr>
            <p:cNvPr id="222" name="Freihandform: Form 221"/>
            <p:cNvSpPr/>
            <p:nvPr userDrawn="1"/>
          </p:nvSpPr>
          <p:spPr>
            <a:xfrm>
              <a:off x="449412" y="0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  <p:sp>
          <p:nvSpPr>
            <p:cNvPr id="223" name="Freihandform: Form 222"/>
            <p:cNvSpPr/>
            <p:nvPr userDrawn="1"/>
          </p:nvSpPr>
          <p:spPr>
            <a:xfrm>
              <a:off x="5950099" y="0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  <p:sp>
          <p:nvSpPr>
            <p:cNvPr id="224" name="Freihandform: Form 223"/>
            <p:cNvSpPr/>
            <p:nvPr userDrawn="1"/>
          </p:nvSpPr>
          <p:spPr>
            <a:xfrm>
              <a:off x="6242050" y="0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  <p:sp>
          <p:nvSpPr>
            <p:cNvPr id="225" name="Freihandform: Form 224"/>
            <p:cNvSpPr/>
            <p:nvPr userDrawn="1"/>
          </p:nvSpPr>
          <p:spPr>
            <a:xfrm>
              <a:off x="11750215" y="0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</p:grpSp>
      <p:grpSp>
        <p:nvGrpSpPr>
          <p:cNvPr id="227" name="Gruppieren 226"/>
          <p:cNvGrpSpPr/>
          <p:nvPr userDrawn="1"/>
        </p:nvGrpSpPr>
        <p:grpSpPr bwMode="gray">
          <a:xfrm>
            <a:off x="449295" y="6903684"/>
            <a:ext cx="11297861" cy="108000"/>
            <a:chOff x="449412" y="0"/>
            <a:chExt cx="11300803" cy="108000"/>
          </a:xfrm>
        </p:grpSpPr>
        <p:sp>
          <p:nvSpPr>
            <p:cNvPr id="229" name="Freihandform: Form 228"/>
            <p:cNvSpPr/>
            <p:nvPr userDrawn="1"/>
          </p:nvSpPr>
          <p:spPr bwMode="gray">
            <a:xfrm>
              <a:off x="449412" y="0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  <p:sp>
          <p:nvSpPr>
            <p:cNvPr id="230" name="Freihandform: Form 229"/>
            <p:cNvSpPr/>
            <p:nvPr userDrawn="1"/>
          </p:nvSpPr>
          <p:spPr bwMode="gray">
            <a:xfrm>
              <a:off x="5950099" y="0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  <p:sp>
          <p:nvSpPr>
            <p:cNvPr id="231" name="Freihandform: Form 230"/>
            <p:cNvSpPr/>
            <p:nvPr userDrawn="1"/>
          </p:nvSpPr>
          <p:spPr bwMode="gray">
            <a:xfrm>
              <a:off x="6242050" y="0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  <p:sp>
          <p:nvSpPr>
            <p:cNvPr id="232" name="Freihandform: Form 231"/>
            <p:cNvSpPr/>
            <p:nvPr userDrawn="1"/>
          </p:nvSpPr>
          <p:spPr bwMode="gray">
            <a:xfrm>
              <a:off x="11750215" y="0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</p:grpSp>
      <p:grpSp>
        <p:nvGrpSpPr>
          <p:cNvPr id="239" name="Gruppieren 238"/>
          <p:cNvGrpSpPr/>
          <p:nvPr userDrawn="1"/>
        </p:nvGrpSpPr>
        <p:grpSpPr>
          <a:xfrm>
            <a:off x="-149354" y="1664804"/>
            <a:ext cx="107973" cy="4500500"/>
            <a:chOff x="-149393" y="1664804"/>
            <a:chExt cx="108001" cy="4500500"/>
          </a:xfrm>
        </p:grpSpPr>
        <p:sp>
          <p:nvSpPr>
            <p:cNvPr id="234" name="Freihandform: Form 233"/>
            <p:cNvSpPr/>
            <p:nvPr userDrawn="1"/>
          </p:nvSpPr>
          <p:spPr>
            <a:xfrm rot="16200000">
              <a:off x="-95392" y="6111304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  <p:sp>
          <p:nvSpPr>
            <p:cNvPr id="237" name="Freihandform: Form 236"/>
            <p:cNvSpPr/>
            <p:nvPr userDrawn="1"/>
          </p:nvSpPr>
          <p:spPr>
            <a:xfrm rot="16200000">
              <a:off x="-95393" y="1610804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</p:grpSp>
      <p:grpSp>
        <p:nvGrpSpPr>
          <p:cNvPr id="240" name="Gruppieren 239"/>
          <p:cNvGrpSpPr/>
          <p:nvPr userDrawn="1"/>
        </p:nvGrpSpPr>
        <p:grpSpPr bwMode="gray">
          <a:xfrm>
            <a:off x="12233381" y="1664804"/>
            <a:ext cx="107973" cy="4500500"/>
            <a:chOff x="-149393" y="1664804"/>
            <a:chExt cx="108001" cy="4500500"/>
          </a:xfrm>
        </p:grpSpPr>
        <p:sp>
          <p:nvSpPr>
            <p:cNvPr id="241" name="Freihandform: Form 240"/>
            <p:cNvSpPr/>
            <p:nvPr userDrawn="1"/>
          </p:nvSpPr>
          <p:spPr bwMode="gray">
            <a:xfrm rot="16200000">
              <a:off x="-95392" y="6111304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  <p:sp>
          <p:nvSpPr>
            <p:cNvPr id="242" name="Freihandform: Form 241"/>
            <p:cNvSpPr/>
            <p:nvPr userDrawn="1"/>
          </p:nvSpPr>
          <p:spPr bwMode="gray">
            <a:xfrm rot="16200000">
              <a:off x="-95393" y="1610804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</p:grpSp>
    </p:spTree>
    <p:extLst>
      <p:ext uri="{BB962C8B-B14F-4D97-AF65-F5344CB8AC3E}">
        <p14:creationId xmlns:p14="http://schemas.microsoft.com/office/powerpoint/2010/main" val="17643261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70" r:id="rId2"/>
    <p:sldLayoutId id="2147483661" r:id="rId3"/>
    <p:sldLayoutId id="2147483662" r:id="rId4"/>
    <p:sldLayoutId id="2147483663" r:id="rId5"/>
    <p:sldLayoutId id="2147483650" r:id="rId6"/>
    <p:sldLayoutId id="2147483664" r:id="rId7"/>
    <p:sldLayoutId id="2147483665" r:id="rId8"/>
    <p:sldLayoutId id="2147483666" r:id="rId9"/>
    <p:sldLayoutId id="2147483667" r:id="rId10"/>
    <p:sldLayoutId id="2147483668" r:id="rId11"/>
    <p:sldLayoutId id="2147483671" r:id="rId12"/>
    <p:sldLayoutId id="2147483669" r:id="rId13"/>
    <p:sldLayoutId id="2147483672" r:id="rId14"/>
  </p:sldLayoutIdLst>
  <p:hf hdr="0"/>
  <p:txStyles>
    <p:titleStyle>
      <a:lvl1pPr algn="l" defTabSz="914126" rtl="0" eaLnBrk="1" latinLnBrk="0" hangingPunct="1">
        <a:lnSpc>
          <a:spcPts val="2900"/>
        </a:lnSpc>
        <a:spcBef>
          <a:spcPct val="0"/>
        </a:spcBef>
        <a:buNone/>
        <a:defRPr sz="2699" b="1" kern="1200" cap="all" spc="4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126" rtl="0" eaLnBrk="1" latinLnBrk="0" hangingPunct="1">
        <a:lnSpc>
          <a:spcPts val="2000"/>
        </a:lnSpc>
        <a:spcBef>
          <a:spcPts val="1200"/>
        </a:spcBef>
        <a:buFont typeface="Arial" pitchFamily="34" charset="0"/>
        <a:buNone/>
        <a:defRPr sz="1600" b="1" kern="1200">
          <a:solidFill>
            <a:schemeClr val="accent2"/>
          </a:solidFill>
          <a:latin typeface="+mn-lt"/>
          <a:ea typeface="+mn-ea"/>
          <a:cs typeface="+mn-cs"/>
        </a:defRPr>
      </a:lvl1pPr>
      <a:lvl2pPr marL="0" indent="0" algn="l" defTabSz="914126" rtl="0" eaLnBrk="1" latinLnBrk="0" hangingPunct="1">
        <a:lnSpc>
          <a:spcPts val="2000"/>
        </a:lnSpc>
        <a:spcBef>
          <a:spcPts val="800"/>
        </a:spcBef>
        <a:buFont typeface="Arial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79946" indent="-179946" algn="l" defTabSz="914126" rtl="0" eaLnBrk="1" latinLnBrk="0" hangingPunct="1">
        <a:lnSpc>
          <a:spcPts val="2000"/>
        </a:lnSpc>
        <a:spcBef>
          <a:spcPts val="400"/>
        </a:spcBef>
        <a:buClr>
          <a:schemeClr val="accent2"/>
        </a:buClr>
        <a:buFont typeface="DFB Sans Ofc" panose="020B0503030500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807796" indent="-179946" algn="l" defTabSz="914126" rtl="0" eaLnBrk="1" latinLnBrk="0" hangingPunct="1">
        <a:lnSpc>
          <a:spcPts val="2000"/>
        </a:lnSpc>
        <a:spcBef>
          <a:spcPts val="400"/>
        </a:spcBef>
        <a:buClr>
          <a:schemeClr val="accent2"/>
        </a:buClr>
        <a:buFont typeface="DFB Sans Ofc" panose="020B0503030500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69794" indent="-269794" algn="l" defTabSz="914126" rtl="0" eaLnBrk="1" latinLnBrk="0" hangingPunct="1">
        <a:lnSpc>
          <a:spcPts val="2000"/>
        </a:lnSpc>
        <a:spcBef>
          <a:spcPts val="1200"/>
        </a:spcBef>
        <a:buClr>
          <a:schemeClr val="accent2"/>
        </a:buClr>
        <a:buFont typeface="Arial" panose="020B0604020202020204" pitchFamily="34" charset="0"/>
        <a:buChar char="→"/>
        <a:defRPr sz="1600" kern="1200">
          <a:solidFill>
            <a:schemeClr val="accent2"/>
          </a:solidFill>
          <a:latin typeface="+mn-lt"/>
          <a:ea typeface="+mn-ea"/>
          <a:cs typeface="+mn-cs"/>
        </a:defRPr>
      </a:lvl5pPr>
      <a:lvl6pPr marL="2513846" indent="-228531" algn="l" defTabSz="914126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908" indent="-228531" algn="l" defTabSz="914126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971" indent="-228531" algn="l" defTabSz="914126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8pPr>
      <a:lvl9pPr marL="3885034" indent="-228531" algn="l" defTabSz="914126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49" userDrawn="1">
          <p15:clr>
            <a:srgbClr val="F26B43"/>
          </p15:clr>
        </p15:guide>
        <p15:guide id="2" pos="279" userDrawn="1">
          <p15:clr>
            <a:srgbClr val="F26B43"/>
          </p15:clr>
        </p15:guide>
        <p15:guide id="3" pos="7400" userDrawn="1">
          <p15:clr>
            <a:srgbClr val="F26B43"/>
          </p15:clr>
        </p15:guide>
        <p15:guide id="4" orient="horz" pos="3884" userDrawn="1">
          <p15:clr>
            <a:srgbClr val="F26B43"/>
          </p15:clr>
        </p15:guide>
        <p15:guide id="5" pos="3749" userDrawn="1">
          <p15:clr>
            <a:srgbClr val="F26B43"/>
          </p15:clr>
        </p15:guide>
        <p15:guide id="6" pos="393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ctrTitle"/>
          </p:nvPr>
        </p:nvSpPr>
        <p:spPr bwMode="gray">
          <a:xfrm>
            <a:off x="444843" y="4269905"/>
            <a:ext cx="11301057" cy="512961"/>
          </a:xfrm>
        </p:spPr>
        <p:txBody>
          <a:bodyPr/>
          <a:lstStyle/>
          <a:p>
            <a:r>
              <a:rPr lang="de-DE" sz="3650" dirty="0"/>
              <a:t>Zusammenarbeit im SR-Team</a:t>
            </a:r>
          </a:p>
        </p:txBody>
      </p:sp>
      <p:sp>
        <p:nvSpPr>
          <p:cNvPr id="7" name="Untertitel 6"/>
          <p:cNvSpPr>
            <a:spLocks noGrp="1"/>
          </p:cNvSpPr>
          <p:nvPr>
            <p:ph type="subTitle" idx="1"/>
          </p:nvPr>
        </p:nvSpPr>
        <p:spPr bwMode="gray">
          <a:xfrm>
            <a:off x="444843" y="4981934"/>
            <a:ext cx="11301057" cy="246478"/>
          </a:xfr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dirty="0"/>
              <a:t>Lehrbrief 101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0"/>
          </p:nvPr>
        </p:nvSpPr>
        <p:spPr bwMode="gray">
          <a:xfrm>
            <a:off x="444843" y="5428557"/>
            <a:ext cx="11301057" cy="194540"/>
          </a:xfr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dirty="0"/>
              <a:t>Stand: Februar 2022</a:t>
            </a:r>
          </a:p>
        </p:txBody>
      </p:sp>
    </p:spTree>
    <p:extLst>
      <p:ext uri="{BB962C8B-B14F-4D97-AF65-F5344CB8AC3E}">
        <p14:creationId xmlns:p14="http://schemas.microsoft.com/office/powerpoint/2010/main" val="125467329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 bwMode="gray">
          <a:xfrm>
            <a:off x="444843" y="6498236"/>
            <a:ext cx="647831" cy="138499"/>
          </a:xfrm>
        </p:spPr>
        <p:txBody>
          <a:bodyPr/>
          <a:lstStyle/>
          <a:p>
            <a:r>
              <a:rPr lang="de-DE" noProof="0" dirty="0"/>
              <a:t>Februar 2022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 bwMode="gray">
          <a:xfrm>
            <a:off x="444843" y="3263300"/>
            <a:ext cx="11301057" cy="1025922"/>
          </a:xfr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sz="3650" dirty="0"/>
              <a:t>Was sind die Grundlagen in der Zusammenarbeit im SR-Team 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de-DE" noProof="0" dirty="0"/>
              <a:t>Seite </a:t>
            </a:r>
            <a:fld id="{105F6080-11B6-4F5B-BFCF-ADAD48E4948B}" type="slidenum">
              <a:rPr lang="de-DE" noProof="0" smtClean="0"/>
              <a:pPr/>
              <a:t>2</a:t>
            </a:fld>
            <a:endParaRPr lang="de-DE" noProof="0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 dirty="0"/>
              <a:t>/  Neutraler Assistent</a:t>
            </a:r>
          </a:p>
        </p:txBody>
      </p:sp>
    </p:spTree>
    <p:extLst>
      <p:ext uri="{BB962C8B-B14F-4D97-AF65-F5344CB8AC3E}">
        <p14:creationId xmlns:p14="http://schemas.microsoft.com/office/powerpoint/2010/main" val="266010629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446284" y="712800"/>
            <a:ext cx="10113366" cy="371897"/>
          </a:xfrm>
        </p:spPr>
        <p:txBody>
          <a:bodyPr/>
          <a:lstStyle/>
          <a:p>
            <a:r>
              <a:rPr lang="de-DE" sz="2650" dirty="0"/>
              <a:t>neutraler Assistent</a:t>
            </a:r>
            <a:endParaRPr lang="de-DE" dirty="0"/>
          </a:p>
        </p:txBody>
      </p:sp>
      <p:sp>
        <p:nvSpPr>
          <p:cNvPr id="9" name="Inhaltsplatzhalter 8"/>
          <p:cNvSpPr>
            <a:spLocks noGrp="1"/>
          </p:cNvSpPr>
          <p:nvPr>
            <p:ph idx="1"/>
          </p:nvPr>
        </p:nvSpPr>
        <p:spPr>
          <a:xfrm>
            <a:off x="1739516" y="1628800"/>
            <a:ext cx="10951822" cy="4042389"/>
          </a:xfrm>
        </p:spPr>
        <p:txBody>
          <a:bodyPr vert="horz" wrap="square" lIns="0" tIns="0" rIns="0" bIns="0" rtlCol="0" anchor="t">
            <a:spAutoFit/>
          </a:bodyPr>
          <a:lstStyle/>
          <a:p>
            <a:pPr>
              <a:lnSpc>
                <a:spcPts val="1300"/>
              </a:lnSpc>
            </a:pPr>
            <a:r>
              <a:rPr lang="de-DE" sz="1800" dirty="0">
                <a:effectLst/>
                <a:latin typeface="DFB Sans Ofc"/>
                <a:ea typeface="DFB Sans Ofc"/>
                <a:cs typeface="Times New Roman" panose="02020603050405020304" pitchFamily="18" charset="0"/>
              </a:rPr>
              <a:t>Standardelemente der </a:t>
            </a:r>
            <a:r>
              <a:rPr lang="de-DE" sz="1800" dirty="0" err="1">
                <a:effectLst/>
                <a:latin typeface="DFB Sans Ofc"/>
                <a:ea typeface="DFB Sans Ofc"/>
                <a:cs typeface="Times New Roman" panose="02020603050405020304" pitchFamily="18" charset="0"/>
              </a:rPr>
              <a:t>Gespannabsprache</a:t>
            </a:r>
            <a:endParaRPr lang="de-DE" sz="1800" dirty="0">
              <a:effectLst/>
              <a:latin typeface="DFB Sans Ofc"/>
              <a:ea typeface="DFB Sans Ofc"/>
              <a:cs typeface="Times New Roman" panose="02020603050405020304" pitchFamily="18" charset="0"/>
            </a:endParaRPr>
          </a:p>
          <a:p>
            <a:pPr marL="342900" lvl="0" indent="-342900">
              <a:lnSpc>
                <a:spcPts val="1300"/>
              </a:lnSpc>
              <a:buFont typeface="Symbol" panose="05050102010706020507" pitchFamily="18" charset="2"/>
              <a:buChar char=""/>
            </a:pPr>
            <a:r>
              <a:rPr lang="de-DE" dirty="0" err="1">
                <a:effectLst/>
                <a:latin typeface="DFB Sans Ofc"/>
                <a:ea typeface="DFB Sans Ofc"/>
                <a:cs typeface="Times New Roman" panose="02020603050405020304" pitchFamily="18" charset="0"/>
              </a:rPr>
              <a:t>Einwurfanzeige</a:t>
            </a:r>
            <a:endParaRPr lang="de-DE" dirty="0">
              <a:effectLst/>
              <a:latin typeface="DFB Sans Ofc"/>
              <a:ea typeface="DFB Sans Ofc"/>
              <a:cs typeface="Times New Roman" panose="02020603050405020304" pitchFamily="18" charset="0"/>
            </a:endParaRPr>
          </a:p>
          <a:p>
            <a:pPr marL="342900" lvl="0" indent="-342900">
              <a:lnSpc>
                <a:spcPts val="1300"/>
              </a:lnSpc>
              <a:buFont typeface="Symbol" panose="05050102010706020507" pitchFamily="18" charset="2"/>
              <a:buChar char=""/>
            </a:pPr>
            <a:r>
              <a:rPr lang="de-DE" dirty="0">
                <a:effectLst/>
                <a:latin typeface="DFB Sans Ofc"/>
                <a:ea typeface="DFB Sans Ofc"/>
                <a:cs typeface="Times New Roman" panose="02020603050405020304" pitchFamily="18" charset="0"/>
              </a:rPr>
              <a:t>Eckstoßanzeige</a:t>
            </a:r>
          </a:p>
          <a:p>
            <a:pPr marL="342900" lvl="0" indent="-342900">
              <a:lnSpc>
                <a:spcPts val="1300"/>
              </a:lnSpc>
              <a:buFont typeface="Symbol" panose="05050102010706020507" pitchFamily="18" charset="2"/>
              <a:buChar char=""/>
            </a:pPr>
            <a:r>
              <a:rPr lang="de-DE" dirty="0">
                <a:effectLst/>
                <a:latin typeface="DFB Sans Ofc"/>
                <a:ea typeface="DFB Sans Ofc"/>
                <a:cs typeface="Times New Roman" panose="02020603050405020304" pitchFamily="18" charset="0"/>
              </a:rPr>
              <a:t>Abstoßanzeige (Körperstellung)</a:t>
            </a:r>
          </a:p>
          <a:p>
            <a:pPr marL="342900" lvl="0" indent="-342900">
              <a:lnSpc>
                <a:spcPts val="1300"/>
              </a:lnSpc>
              <a:buFont typeface="Symbol" panose="05050102010706020507" pitchFamily="18" charset="2"/>
              <a:buChar char=""/>
            </a:pPr>
            <a:r>
              <a:rPr lang="de-DE" dirty="0">
                <a:effectLst/>
                <a:latin typeface="DFB Sans Ofc"/>
                <a:ea typeface="DFB Sans Ofc"/>
                <a:cs typeface="Times New Roman" panose="02020603050405020304" pitchFamily="18" charset="0"/>
              </a:rPr>
              <a:t>Unterscheidung Einwurf / Foulspiel - ist das deutlich?</a:t>
            </a:r>
          </a:p>
          <a:p>
            <a:pPr marL="342900" lvl="0" indent="-342900">
              <a:lnSpc>
                <a:spcPts val="1300"/>
              </a:lnSpc>
              <a:buFont typeface="Symbol" panose="05050102010706020507" pitchFamily="18" charset="2"/>
              <a:buChar char=""/>
            </a:pPr>
            <a:r>
              <a:rPr lang="de-DE" dirty="0">
                <a:effectLst/>
                <a:latin typeface="DFB Sans Ofc"/>
                <a:ea typeface="DFB Sans Ofc"/>
                <a:cs typeface="Times New Roman" panose="02020603050405020304" pitchFamily="18" charset="0"/>
              </a:rPr>
              <a:t>Fahnenhaltung beim Freistoß (rechts / links - je nachdem wer foult)</a:t>
            </a:r>
          </a:p>
          <a:p>
            <a:pPr marL="342900" lvl="0" indent="-342900">
              <a:lnSpc>
                <a:spcPts val="1300"/>
              </a:lnSpc>
              <a:buFont typeface="Symbol" panose="05050102010706020507" pitchFamily="18" charset="2"/>
              <a:buChar char=""/>
            </a:pPr>
            <a:r>
              <a:rPr lang="de-DE" dirty="0">
                <a:effectLst/>
                <a:latin typeface="DFB Sans Ofc"/>
                <a:ea typeface="DFB Sans Ofc"/>
                <a:cs typeface="Times New Roman" panose="02020603050405020304" pitchFamily="18" charset="0"/>
              </a:rPr>
              <a:t>Laufspiel mit Fahne - Fahne immer zum Spielfeld (wird das praktiziert?)</a:t>
            </a:r>
          </a:p>
          <a:p>
            <a:pPr marL="342900" lvl="0" indent="-342900">
              <a:lnSpc>
                <a:spcPts val="1300"/>
              </a:lnSpc>
              <a:buFont typeface="Symbol" panose="05050102010706020507" pitchFamily="18" charset="2"/>
              <a:buChar char=""/>
            </a:pPr>
            <a:r>
              <a:rPr lang="de-DE" dirty="0">
                <a:effectLst/>
                <a:latin typeface="DFB Sans Ofc"/>
                <a:ea typeface="DFB Sans Ofc"/>
                <a:cs typeface="Times New Roman" panose="02020603050405020304" pitchFamily="18" charset="0"/>
              </a:rPr>
              <a:t>Wer schreibt was wann?</a:t>
            </a:r>
          </a:p>
          <a:p>
            <a:pPr marL="342900" lvl="0" indent="-342900">
              <a:lnSpc>
                <a:spcPts val="1300"/>
              </a:lnSpc>
              <a:buFont typeface="Symbol" panose="05050102010706020507" pitchFamily="18" charset="2"/>
              <a:buChar char=""/>
            </a:pPr>
            <a:r>
              <a:rPr lang="de-DE" dirty="0">
                <a:effectLst/>
                <a:latin typeface="DFB Sans Ofc"/>
                <a:ea typeface="DFB Sans Ofc"/>
                <a:cs typeface="Times New Roman" panose="02020603050405020304" pitchFamily="18" charset="0"/>
              </a:rPr>
              <a:t>Umgang mit dem unterschiedlichen Erfahrungsschatz der SRA (Neuling / alter Hase)</a:t>
            </a:r>
          </a:p>
          <a:p>
            <a:pPr marL="342900" lvl="0" indent="-342900">
              <a:lnSpc>
                <a:spcPts val="1300"/>
              </a:lnSpc>
              <a:buFont typeface="Symbol" panose="05050102010706020507" pitchFamily="18" charset="2"/>
              <a:buChar char=""/>
            </a:pPr>
            <a:r>
              <a:rPr lang="de-DE" dirty="0">
                <a:effectLst/>
                <a:latin typeface="DFB Sans Ofc"/>
                <a:ea typeface="DFB Sans Ofc"/>
                <a:cs typeface="Times New Roman" panose="02020603050405020304" pitchFamily="18" charset="0"/>
              </a:rPr>
              <a:t>Blickkontakt </a:t>
            </a:r>
          </a:p>
          <a:p>
            <a:pPr marL="342900" lvl="0" indent="-342900">
              <a:lnSpc>
                <a:spcPts val="1300"/>
              </a:lnSpc>
              <a:buFont typeface="Symbol" panose="05050102010706020507" pitchFamily="18" charset="2"/>
              <a:buChar char=""/>
            </a:pPr>
            <a:r>
              <a:rPr lang="de-DE" dirty="0">
                <a:effectLst/>
                <a:latin typeface="DFB Sans Ofc"/>
                <a:ea typeface="DFB Sans Ofc"/>
                <a:cs typeface="Times New Roman" panose="02020603050405020304" pitchFamily="18" charset="0"/>
              </a:rPr>
              <a:t>Absprache in der Halbzeit - findet die statt?</a:t>
            </a:r>
          </a:p>
          <a:p>
            <a:pPr marL="342900" lvl="0" indent="-342900">
              <a:lnSpc>
                <a:spcPts val="1300"/>
              </a:lnSpc>
              <a:buFont typeface="Symbol" panose="05050102010706020507" pitchFamily="18" charset="2"/>
              <a:buChar char=""/>
            </a:pPr>
            <a:r>
              <a:rPr lang="de-DE" dirty="0">
                <a:effectLst/>
                <a:latin typeface="DFB Sans Ofc"/>
                <a:ea typeface="DFB Sans Ofc"/>
                <a:cs typeface="Times New Roman" panose="02020603050405020304" pitchFamily="18" charset="0"/>
              </a:rPr>
              <a:t>Auflaufen und Abgang - was ist wichtig, was kann man falsch machen</a:t>
            </a:r>
          </a:p>
          <a:p>
            <a:pPr lvl="1"/>
            <a:endParaRPr lang="de-DE"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 dirty="0"/>
              <a:t>Seite </a:t>
            </a:r>
            <a:fld id="{105F6080-11B6-4F5B-BFCF-ADAD48E4948B}" type="slidenum">
              <a:rPr lang="de-DE" noProof="0" smtClean="0"/>
              <a:pPr/>
              <a:t>3</a:t>
            </a:fld>
            <a:endParaRPr lang="de-DE" noProof="0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/>
              <a:t>Grundregeln</a:t>
            </a:r>
          </a:p>
        </p:txBody>
      </p:sp>
      <p:sp>
        <p:nvSpPr>
          <p:cNvPr id="13" name="Datumsplatzhalter 1">
            <a:extLst>
              <a:ext uri="{FF2B5EF4-FFF2-40B4-BE49-F238E27FC236}">
                <a16:creationId xmlns:a16="http://schemas.microsoft.com/office/drawing/2014/main" id="{635CA802-CEDE-4E2E-AE1D-7FC1DD73BA43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>
          <a:xfrm>
            <a:off x="444843" y="6498236"/>
            <a:ext cx="647831" cy="138499"/>
          </a:xfrm>
        </p:spPr>
        <p:txBody>
          <a:bodyPr/>
          <a:lstStyle/>
          <a:p>
            <a:r>
              <a:rPr lang="de-DE" noProof="0" dirty="0"/>
              <a:t>Februar 2022</a:t>
            </a:r>
          </a:p>
        </p:txBody>
      </p:sp>
      <p:sp>
        <p:nvSpPr>
          <p:cNvPr id="14" name="Fußzeilenplatzhalter 3">
            <a:extLst>
              <a:ext uri="{FF2B5EF4-FFF2-40B4-BE49-F238E27FC236}">
                <a16:creationId xmlns:a16="http://schemas.microsoft.com/office/drawing/2014/main" id="{B818FFC0-0111-4E49-B584-8555C6F75E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99836" y="6498236"/>
            <a:ext cx="9897423" cy="138499"/>
          </a:xfrm>
        </p:spPr>
        <p:txBody>
          <a:bodyPr/>
          <a:lstStyle/>
          <a:p>
            <a:r>
              <a:rPr lang="de-DE" noProof="0" dirty="0"/>
              <a:t>/  Neutraler Assistent</a:t>
            </a:r>
          </a:p>
        </p:txBody>
      </p:sp>
    </p:spTree>
    <p:extLst>
      <p:ext uri="{BB962C8B-B14F-4D97-AF65-F5344CB8AC3E}">
        <p14:creationId xmlns:p14="http://schemas.microsoft.com/office/powerpoint/2010/main" val="97804908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446284" y="712800"/>
            <a:ext cx="10113366" cy="371897"/>
          </a:xfrm>
        </p:spPr>
        <p:txBody>
          <a:bodyPr/>
          <a:lstStyle/>
          <a:p>
            <a:r>
              <a:rPr lang="de-DE" sz="2650" dirty="0"/>
              <a:t>neutraler Assistent</a:t>
            </a:r>
            <a:endParaRPr lang="de-DE" dirty="0"/>
          </a:p>
        </p:txBody>
      </p:sp>
      <p:sp>
        <p:nvSpPr>
          <p:cNvPr id="9" name="Inhaltsplatzhalter 8"/>
          <p:cNvSpPr>
            <a:spLocks noGrp="1"/>
          </p:cNvSpPr>
          <p:nvPr>
            <p:ph idx="1"/>
          </p:nvPr>
        </p:nvSpPr>
        <p:spPr>
          <a:xfrm>
            <a:off x="1595500" y="1689504"/>
            <a:ext cx="10951822" cy="3721788"/>
          </a:xfrm>
        </p:spPr>
        <p:txBody>
          <a:bodyPr vert="horz" wrap="square" lIns="0" tIns="0" rIns="0" bIns="0" rtlCol="0" anchor="t">
            <a:spAutoFit/>
          </a:bodyPr>
          <a:lstStyle/>
          <a:p>
            <a:pPr>
              <a:lnSpc>
                <a:spcPts val="1300"/>
              </a:lnSpc>
            </a:pPr>
            <a:r>
              <a:rPr lang="de-DE" sz="1800" dirty="0">
                <a:effectLst/>
                <a:latin typeface="DFB Sans Ofc"/>
                <a:ea typeface="DFB Sans Ofc"/>
                <a:cs typeface="Times New Roman" panose="02020603050405020304" pitchFamily="18" charset="0"/>
              </a:rPr>
              <a:t>Über den Standard hinaus:</a:t>
            </a:r>
          </a:p>
          <a:p>
            <a:pPr>
              <a:lnSpc>
                <a:spcPts val="1300"/>
              </a:lnSpc>
            </a:pPr>
            <a:r>
              <a:rPr lang="de-DE" sz="1800" dirty="0">
                <a:effectLst/>
                <a:latin typeface="DFB Sans Ofc"/>
                <a:ea typeface="DFB Sans Ofc"/>
                <a:cs typeface="Times New Roman" panose="02020603050405020304" pitchFamily="18" charset="0"/>
              </a:rPr>
              <a:t> </a:t>
            </a:r>
          </a:p>
          <a:p>
            <a:pPr marL="342900" lvl="0" indent="-342900">
              <a:lnSpc>
                <a:spcPts val="1300"/>
              </a:lnSpc>
              <a:buFont typeface="Symbol" panose="05050102010706020507" pitchFamily="18" charset="2"/>
              <a:buChar char=""/>
            </a:pPr>
            <a:r>
              <a:rPr lang="de-DE" dirty="0">
                <a:effectLst/>
                <a:latin typeface="DFB Sans Ofc"/>
                <a:ea typeface="DFB Sans Ofc"/>
                <a:cs typeface="Times New Roman" panose="02020603050405020304" pitchFamily="18" charset="0"/>
              </a:rPr>
              <a:t>Handspiel auf der Torlinie</a:t>
            </a:r>
          </a:p>
          <a:p>
            <a:pPr marL="342900" lvl="0" indent="-342900">
              <a:lnSpc>
                <a:spcPts val="1300"/>
              </a:lnSpc>
              <a:buFont typeface="Symbol" panose="05050102010706020507" pitchFamily="18" charset="2"/>
              <a:buChar char=""/>
            </a:pPr>
            <a:r>
              <a:rPr lang="de-DE" dirty="0">
                <a:effectLst/>
                <a:latin typeface="DFB Sans Ofc"/>
                <a:ea typeface="DFB Sans Ofc"/>
                <a:cs typeface="Times New Roman" panose="02020603050405020304" pitchFamily="18" charset="0"/>
              </a:rPr>
              <a:t>Vergehen hinter dem Rücken des SR</a:t>
            </a:r>
          </a:p>
          <a:p>
            <a:pPr marL="342900" lvl="0" indent="-342900">
              <a:lnSpc>
                <a:spcPts val="1300"/>
              </a:lnSpc>
              <a:buFont typeface="Symbol" panose="05050102010706020507" pitchFamily="18" charset="2"/>
              <a:buChar char=""/>
            </a:pPr>
            <a:r>
              <a:rPr lang="de-DE" dirty="0">
                <a:effectLst/>
                <a:latin typeface="DFB Sans Ofc"/>
                <a:ea typeface="DFB Sans Ofc"/>
                <a:cs typeface="Times New Roman" panose="02020603050405020304" pitchFamily="18" charset="0"/>
              </a:rPr>
              <a:t>Ermahnung vor Eckstoß - was macht der SRA?</a:t>
            </a:r>
          </a:p>
          <a:p>
            <a:pPr marL="342900" lvl="0" indent="-342900">
              <a:lnSpc>
                <a:spcPts val="1300"/>
              </a:lnSpc>
              <a:buFont typeface="Symbol" panose="05050102010706020507" pitchFamily="18" charset="2"/>
              <a:buChar char=""/>
            </a:pPr>
            <a:r>
              <a:rPr lang="de-DE" dirty="0">
                <a:effectLst/>
                <a:latin typeface="DFB Sans Ofc"/>
                <a:ea typeface="DFB Sans Ofc"/>
                <a:cs typeface="Times New Roman" panose="02020603050405020304" pitchFamily="18" charset="0"/>
              </a:rPr>
              <a:t>Absprache bei Meldung SR/ SRA - wie läuft das?</a:t>
            </a:r>
          </a:p>
          <a:p>
            <a:pPr marL="342900" lvl="0" indent="-342900">
              <a:lnSpc>
                <a:spcPts val="1300"/>
              </a:lnSpc>
              <a:buFont typeface="Symbol" panose="05050102010706020507" pitchFamily="18" charset="2"/>
              <a:buChar char=""/>
            </a:pPr>
            <a:r>
              <a:rPr lang="de-DE" dirty="0">
                <a:effectLst/>
                <a:latin typeface="DFB Sans Ofc"/>
                <a:ea typeface="DFB Sans Ofc"/>
                <a:cs typeface="Times New Roman" panose="02020603050405020304" pitchFamily="18" charset="0"/>
              </a:rPr>
              <a:t>Anzeige von persönlichen Strafen</a:t>
            </a:r>
          </a:p>
          <a:p>
            <a:pPr marL="342900" lvl="0" indent="-342900">
              <a:lnSpc>
                <a:spcPts val="1300"/>
              </a:lnSpc>
              <a:buFont typeface="Symbol" panose="05050102010706020507" pitchFamily="18" charset="2"/>
              <a:buChar char=""/>
            </a:pPr>
            <a:r>
              <a:rPr lang="de-DE" dirty="0">
                <a:effectLst/>
                <a:latin typeface="DFB Sans Ofc"/>
                <a:ea typeface="DFB Sans Ofc"/>
                <a:cs typeface="Times New Roman" panose="02020603050405020304" pitchFamily="18" charset="0"/>
              </a:rPr>
              <a:t>Rudelbildung - wie verhalten sich die Assistenten</a:t>
            </a:r>
          </a:p>
          <a:p>
            <a:pPr marL="342900" lvl="0" indent="-342900">
              <a:lnSpc>
                <a:spcPts val="1300"/>
              </a:lnSpc>
              <a:buFont typeface="Symbol" panose="05050102010706020507" pitchFamily="18" charset="2"/>
              <a:buChar char=""/>
            </a:pPr>
            <a:r>
              <a:rPr lang="de-DE" dirty="0">
                <a:effectLst/>
                <a:latin typeface="DFB Sans Ofc"/>
                <a:ea typeface="DFB Sans Ofc"/>
                <a:cs typeface="Times New Roman" panose="02020603050405020304" pitchFamily="18" charset="0"/>
              </a:rPr>
              <a:t>Trainerverhalten - Steigerung der Ansprachen</a:t>
            </a:r>
          </a:p>
          <a:p>
            <a:pPr marL="342900" lvl="0" indent="-342900">
              <a:lnSpc>
                <a:spcPts val="1300"/>
              </a:lnSpc>
              <a:buFont typeface="Symbol" panose="05050102010706020507" pitchFamily="18" charset="2"/>
              <a:buChar char=""/>
            </a:pPr>
            <a:r>
              <a:rPr lang="de-DE" dirty="0">
                <a:effectLst/>
                <a:latin typeface="DFB Sans Ofc"/>
                <a:ea typeface="DFB Sans Ofc"/>
                <a:cs typeface="Times New Roman" panose="02020603050405020304" pitchFamily="18" charset="0"/>
              </a:rPr>
              <a:t>Trainerverweis (wer macht was und wie)</a:t>
            </a:r>
          </a:p>
          <a:p>
            <a:pPr marL="342900" lvl="0" indent="-342900">
              <a:lnSpc>
                <a:spcPts val="1300"/>
              </a:lnSpc>
              <a:buFont typeface="Symbol" panose="05050102010706020507" pitchFamily="18" charset="2"/>
              <a:buChar char=""/>
            </a:pPr>
            <a:r>
              <a:rPr lang="de-DE" dirty="0">
                <a:effectLst/>
                <a:latin typeface="DFB Sans Ofc"/>
                <a:ea typeface="DFB Sans Ofc"/>
                <a:cs typeface="Times New Roman" panose="02020603050405020304" pitchFamily="18" charset="0"/>
              </a:rPr>
              <a:t>Verhalten des entfernten SRA wenn er es besser gesehen haben könnte?</a:t>
            </a:r>
          </a:p>
          <a:p>
            <a:pPr lvl="1"/>
            <a:endParaRPr lang="de-DE"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 dirty="0"/>
              <a:t>Seite </a:t>
            </a:r>
            <a:fld id="{105F6080-11B6-4F5B-BFCF-ADAD48E4948B}" type="slidenum">
              <a:rPr lang="de-DE" noProof="0" smtClean="0"/>
              <a:pPr/>
              <a:t>4</a:t>
            </a:fld>
            <a:endParaRPr lang="de-DE" noProof="0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/>
              <a:t>Grundregeln</a:t>
            </a:r>
          </a:p>
        </p:txBody>
      </p:sp>
      <p:sp>
        <p:nvSpPr>
          <p:cNvPr id="11" name="Datumsplatzhalter 1">
            <a:extLst>
              <a:ext uri="{FF2B5EF4-FFF2-40B4-BE49-F238E27FC236}">
                <a16:creationId xmlns:a16="http://schemas.microsoft.com/office/drawing/2014/main" id="{5F1932F5-0E4D-4F51-BD12-A95F3C284D1D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>
          <a:xfrm>
            <a:off x="444843" y="6498236"/>
            <a:ext cx="647831" cy="138499"/>
          </a:xfrm>
        </p:spPr>
        <p:txBody>
          <a:bodyPr/>
          <a:lstStyle/>
          <a:p>
            <a:r>
              <a:rPr lang="de-DE" noProof="0" dirty="0"/>
              <a:t>Februar 2022</a:t>
            </a:r>
          </a:p>
        </p:txBody>
      </p:sp>
      <p:sp>
        <p:nvSpPr>
          <p:cNvPr id="12" name="Fußzeilenplatzhalter 3">
            <a:extLst>
              <a:ext uri="{FF2B5EF4-FFF2-40B4-BE49-F238E27FC236}">
                <a16:creationId xmlns:a16="http://schemas.microsoft.com/office/drawing/2014/main" id="{B350FFF2-E3CF-4E7D-9C4B-D301284AF0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99836" y="6498236"/>
            <a:ext cx="9897423" cy="138499"/>
          </a:xfrm>
        </p:spPr>
        <p:txBody>
          <a:bodyPr/>
          <a:lstStyle/>
          <a:p>
            <a:r>
              <a:rPr lang="de-DE" noProof="0" dirty="0"/>
              <a:t>/  Neutraler Assistent</a:t>
            </a:r>
          </a:p>
        </p:txBody>
      </p:sp>
    </p:spTree>
    <p:extLst>
      <p:ext uri="{BB962C8B-B14F-4D97-AF65-F5344CB8AC3E}">
        <p14:creationId xmlns:p14="http://schemas.microsoft.com/office/powerpoint/2010/main" val="357733578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46284" y="712800"/>
            <a:ext cx="10113366" cy="371897"/>
          </a:xfrm>
        </p:spPr>
        <p:txBody>
          <a:bodyPr/>
          <a:lstStyle/>
          <a:p>
            <a:r>
              <a:rPr lang="de-DE" dirty="0"/>
              <a:t>sPIELFELD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 dirty="0"/>
              <a:t>Seite </a:t>
            </a:r>
            <a:fld id="{105F6080-11B6-4F5B-BFCF-ADAD48E4948B}" type="slidenum">
              <a:rPr lang="de-DE" noProof="0" dirty="0" smtClean="0"/>
              <a:pPr/>
              <a:t>5</a:t>
            </a:fld>
            <a:endParaRPr lang="de-DE" noProof="0" dirty="0"/>
          </a:p>
        </p:txBody>
      </p:sp>
      <p:sp>
        <p:nvSpPr>
          <p:cNvPr id="43" name="Textplatzhalter 4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/>
              <a:t>musterfolien</a:t>
            </a:r>
          </a:p>
        </p:txBody>
      </p:sp>
      <p:sp>
        <p:nvSpPr>
          <p:cNvPr id="13" name="Freeform 5"/>
          <p:cNvSpPr>
            <a:spLocks noChangeAspect="1" noEditPoints="1"/>
          </p:cNvSpPr>
          <p:nvPr/>
        </p:nvSpPr>
        <p:spPr bwMode="gray">
          <a:xfrm>
            <a:off x="2560812" y="1665288"/>
            <a:ext cx="7070377" cy="4500562"/>
          </a:xfrm>
          <a:custGeom>
            <a:avLst/>
            <a:gdLst>
              <a:gd name="T0" fmla="*/ 2488 w 4204"/>
              <a:gd name="T1" fmla="*/ 1337 h 2674"/>
              <a:gd name="T2" fmla="*/ 2102 w 4204"/>
              <a:gd name="T3" fmla="*/ 1722 h 2674"/>
              <a:gd name="T4" fmla="*/ 1717 w 4204"/>
              <a:gd name="T5" fmla="*/ 1337 h 2674"/>
              <a:gd name="T6" fmla="*/ 2102 w 4204"/>
              <a:gd name="T7" fmla="*/ 951 h 2674"/>
              <a:gd name="T8" fmla="*/ 2488 w 4204"/>
              <a:gd name="T9" fmla="*/ 1337 h 2674"/>
              <a:gd name="T10" fmla="*/ 4204 w 4204"/>
              <a:gd name="T11" fmla="*/ 2674 h 2674"/>
              <a:gd name="T12" fmla="*/ 0 w 4204"/>
              <a:gd name="T13" fmla="*/ 2674 h 2674"/>
              <a:gd name="T14" fmla="*/ 0 w 4204"/>
              <a:gd name="T15" fmla="*/ 0 h 2674"/>
              <a:gd name="T16" fmla="*/ 4204 w 4204"/>
              <a:gd name="T17" fmla="*/ 0 h 2674"/>
              <a:gd name="T18" fmla="*/ 4204 w 4204"/>
              <a:gd name="T19" fmla="*/ 2674 h 2674"/>
              <a:gd name="T20" fmla="*/ 0 w 4204"/>
              <a:gd name="T21" fmla="*/ 951 h 2674"/>
              <a:gd name="T22" fmla="*/ 0 w 4204"/>
              <a:gd name="T23" fmla="*/ 951 h 2674"/>
              <a:gd name="T24" fmla="*/ 0 w 4204"/>
              <a:gd name="T25" fmla="*/ 504 h 2674"/>
              <a:gd name="T26" fmla="*/ 0 w 4204"/>
              <a:gd name="T27" fmla="*/ 504 h 2674"/>
              <a:gd name="T28" fmla="*/ 4204 w 4204"/>
              <a:gd name="T29" fmla="*/ 2170 h 2674"/>
              <a:gd name="T30" fmla="*/ 3504 w 4204"/>
              <a:gd name="T31" fmla="*/ 2170 h 2674"/>
              <a:gd name="T32" fmla="*/ 3504 w 4204"/>
              <a:gd name="T33" fmla="*/ 504 h 2674"/>
              <a:gd name="T34" fmla="*/ 4204 w 4204"/>
              <a:gd name="T35" fmla="*/ 504 h 2674"/>
              <a:gd name="T36" fmla="*/ 2102 w 4204"/>
              <a:gd name="T37" fmla="*/ 2674 h 2674"/>
              <a:gd name="T38" fmla="*/ 2102 w 4204"/>
              <a:gd name="T39" fmla="*/ 0 h 2674"/>
              <a:gd name="T40" fmla="*/ 4204 w 4204"/>
              <a:gd name="T41" fmla="*/ 1723 h 2674"/>
              <a:gd name="T42" fmla="*/ 3978 w 4204"/>
              <a:gd name="T43" fmla="*/ 1723 h 2674"/>
              <a:gd name="T44" fmla="*/ 3978 w 4204"/>
              <a:gd name="T45" fmla="*/ 951 h 2674"/>
              <a:gd name="T46" fmla="*/ 4204 w 4204"/>
              <a:gd name="T47" fmla="*/ 951 h 2674"/>
              <a:gd name="T48" fmla="*/ 3504 w 4204"/>
              <a:gd name="T49" fmla="*/ 1028 h 2674"/>
              <a:gd name="T50" fmla="*/ 3349 w 4204"/>
              <a:gd name="T51" fmla="*/ 1337 h 2674"/>
              <a:gd name="T52" fmla="*/ 3504 w 4204"/>
              <a:gd name="T53" fmla="*/ 1645 h 2674"/>
              <a:gd name="T54" fmla="*/ 4107 w 4204"/>
              <a:gd name="T55" fmla="*/ 2674 h 2674"/>
              <a:gd name="T56" fmla="*/ 4204 w 4204"/>
              <a:gd name="T57" fmla="*/ 2576 h 2674"/>
              <a:gd name="T58" fmla="*/ 4204 w 4204"/>
              <a:gd name="T59" fmla="*/ 97 h 2674"/>
              <a:gd name="T60" fmla="*/ 4107 w 4204"/>
              <a:gd name="T61" fmla="*/ 0 h 2674"/>
              <a:gd name="T62" fmla="*/ 0 w 4204"/>
              <a:gd name="T63" fmla="*/ 2170 h 2674"/>
              <a:gd name="T64" fmla="*/ 700 w 4204"/>
              <a:gd name="T65" fmla="*/ 2170 h 2674"/>
              <a:gd name="T66" fmla="*/ 700 w 4204"/>
              <a:gd name="T67" fmla="*/ 504 h 2674"/>
              <a:gd name="T68" fmla="*/ 0 w 4204"/>
              <a:gd name="T69" fmla="*/ 504 h 2674"/>
              <a:gd name="T70" fmla="*/ 0 w 4204"/>
              <a:gd name="T71" fmla="*/ 1723 h 2674"/>
              <a:gd name="T72" fmla="*/ 226 w 4204"/>
              <a:gd name="T73" fmla="*/ 1723 h 2674"/>
              <a:gd name="T74" fmla="*/ 226 w 4204"/>
              <a:gd name="T75" fmla="*/ 951 h 2674"/>
              <a:gd name="T76" fmla="*/ 0 w 4204"/>
              <a:gd name="T77" fmla="*/ 951 h 2674"/>
              <a:gd name="T78" fmla="*/ 700 w 4204"/>
              <a:gd name="T79" fmla="*/ 1645 h 2674"/>
              <a:gd name="T80" fmla="*/ 855 w 4204"/>
              <a:gd name="T81" fmla="*/ 1337 h 2674"/>
              <a:gd name="T82" fmla="*/ 700 w 4204"/>
              <a:gd name="T83" fmla="*/ 1028 h 2674"/>
              <a:gd name="T84" fmla="*/ 97 w 4204"/>
              <a:gd name="T85" fmla="*/ 2674 h 2674"/>
              <a:gd name="T86" fmla="*/ 0 w 4204"/>
              <a:gd name="T87" fmla="*/ 2576 h 2674"/>
              <a:gd name="T88" fmla="*/ 0 w 4204"/>
              <a:gd name="T89" fmla="*/ 97 h 2674"/>
              <a:gd name="T90" fmla="*/ 97 w 4204"/>
              <a:gd name="T91" fmla="*/ 0 h 26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4204" h="2674">
                <a:moveTo>
                  <a:pt x="2488" y="1337"/>
                </a:moveTo>
                <a:cubicBezTo>
                  <a:pt x="2488" y="1550"/>
                  <a:pt x="2315" y="1722"/>
                  <a:pt x="2102" y="1722"/>
                </a:cubicBezTo>
                <a:cubicBezTo>
                  <a:pt x="1889" y="1722"/>
                  <a:pt x="1717" y="1550"/>
                  <a:pt x="1717" y="1337"/>
                </a:cubicBezTo>
                <a:cubicBezTo>
                  <a:pt x="1717" y="1124"/>
                  <a:pt x="1889" y="951"/>
                  <a:pt x="2102" y="951"/>
                </a:cubicBezTo>
                <a:cubicBezTo>
                  <a:pt x="2315" y="951"/>
                  <a:pt x="2488" y="1124"/>
                  <a:pt x="2488" y="1337"/>
                </a:cubicBezTo>
                <a:close/>
                <a:moveTo>
                  <a:pt x="4204" y="2674"/>
                </a:moveTo>
                <a:cubicBezTo>
                  <a:pt x="0" y="2674"/>
                  <a:pt x="0" y="2674"/>
                  <a:pt x="0" y="2674"/>
                </a:cubicBezTo>
                <a:cubicBezTo>
                  <a:pt x="0" y="0"/>
                  <a:pt x="0" y="0"/>
                  <a:pt x="0" y="0"/>
                </a:cubicBezTo>
                <a:cubicBezTo>
                  <a:pt x="4204" y="0"/>
                  <a:pt x="4204" y="0"/>
                  <a:pt x="4204" y="0"/>
                </a:cubicBezTo>
                <a:lnTo>
                  <a:pt x="4204" y="2674"/>
                </a:lnTo>
                <a:close/>
                <a:moveTo>
                  <a:pt x="0" y="951"/>
                </a:moveTo>
                <a:cubicBezTo>
                  <a:pt x="0" y="951"/>
                  <a:pt x="0" y="951"/>
                  <a:pt x="0" y="951"/>
                </a:cubicBezTo>
                <a:moveTo>
                  <a:pt x="0" y="504"/>
                </a:moveTo>
                <a:cubicBezTo>
                  <a:pt x="0" y="504"/>
                  <a:pt x="0" y="504"/>
                  <a:pt x="0" y="504"/>
                </a:cubicBezTo>
                <a:moveTo>
                  <a:pt x="4204" y="2170"/>
                </a:moveTo>
                <a:cubicBezTo>
                  <a:pt x="3504" y="2170"/>
                  <a:pt x="3504" y="2170"/>
                  <a:pt x="3504" y="2170"/>
                </a:cubicBezTo>
                <a:cubicBezTo>
                  <a:pt x="3504" y="504"/>
                  <a:pt x="3504" y="504"/>
                  <a:pt x="3504" y="504"/>
                </a:cubicBezTo>
                <a:cubicBezTo>
                  <a:pt x="4204" y="504"/>
                  <a:pt x="4204" y="504"/>
                  <a:pt x="4204" y="504"/>
                </a:cubicBezTo>
                <a:moveTo>
                  <a:pt x="2102" y="2674"/>
                </a:moveTo>
                <a:cubicBezTo>
                  <a:pt x="2102" y="0"/>
                  <a:pt x="2102" y="0"/>
                  <a:pt x="2102" y="0"/>
                </a:cubicBezTo>
                <a:moveTo>
                  <a:pt x="4204" y="1723"/>
                </a:moveTo>
                <a:cubicBezTo>
                  <a:pt x="3978" y="1723"/>
                  <a:pt x="3978" y="1723"/>
                  <a:pt x="3978" y="1723"/>
                </a:cubicBezTo>
                <a:cubicBezTo>
                  <a:pt x="3978" y="951"/>
                  <a:pt x="3978" y="951"/>
                  <a:pt x="3978" y="951"/>
                </a:cubicBezTo>
                <a:cubicBezTo>
                  <a:pt x="4204" y="951"/>
                  <a:pt x="4204" y="951"/>
                  <a:pt x="4204" y="951"/>
                </a:cubicBezTo>
                <a:moveTo>
                  <a:pt x="3504" y="1028"/>
                </a:moveTo>
                <a:cubicBezTo>
                  <a:pt x="3410" y="1098"/>
                  <a:pt x="3349" y="1210"/>
                  <a:pt x="3349" y="1337"/>
                </a:cubicBezTo>
                <a:cubicBezTo>
                  <a:pt x="3349" y="1463"/>
                  <a:pt x="3410" y="1575"/>
                  <a:pt x="3504" y="1645"/>
                </a:cubicBezTo>
                <a:moveTo>
                  <a:pt x="4107" y="2674"/>
                </a:moveTo>
                <a:cubicBezTo>
                  <a:pt x="4107" y="2620"/>
                  <a:pt x="4150" y="2576"/>
                  <a:pt x="4204" y="2576"/>
                </a:cubicBezTo>
                <a:moveTo>
                  <a:pt x="4204" y="97"/>
                </a:moveTo>
                <a:cubicBezTo>
                  <a:pt x="4150" y="97"/>
                  <a:pt x="4107" y="54"/>
                  <a:pt x="4107" y="0"/>
                </a:cubicBezTo>
                <a:moveTo>
                  <a:pt x="0" y="2170"/>
                </a:moveTo>
                <a:cubicBezTo>
                  <a:pt x="700" y="2170"/>
                  <a:pt x="700" y="2170"/>
                  <a:pt x="700" y="2170"/>
                </a:cubicBezTo>
                <a:cubicBezTo>
                  <a:pt x="700" y="504"/>
                  <a:pt x="700" y="504"/>
                  <a:pt x="700" y="504"/>
                </a:cubicBezTo>
                <a:cubicBezTo>
                  <a:pt x="0" y="504"/>
                  <a:pt x="0" y="504"/>
                  <a:pt x="0" y="504"/>
                </a:cubicBezTo>
                <a:moveTo>
                  <a:pt x="0" y="1723"/>
                </a:moveTo>
                <a:cubicBezTo>
                  <a:pt x="226" y="1723"/>
                  <a:pt x="226" y="1723"/>
                  <a:pt x="226" y="1723"/>
                </a:cubicBezTo>
                <a:cubicBezTo>
                  <a:pt x="226" y="951"/>
                  <a:pt x="226" y="951"/>
                  <a:pt x="226" y="951"/>
                </a:cubicBezTo>
                <a:cubicBezTo>
                  <a:pt x="0" y="951"/>
                  <a:pt x="0" y="951"/>
                  <a:pt x="0" y="951"/>
                </a:cubicBezTo>
                <a:moveTo>
                  <a:pt x="700" y="1645"/>
                </a:moveTo>
                <a:cubicBezTo>
                  <a:pt x="794" y="1575"/>
                  <a:pt x="855" y="1463"/>
                  <a:pt x="855" y="1337"/>
                </a:cubicBezTo>
                <a:cubicBezTo>
                  <a:pt x="855" y="1210"/>
                  <a:pt x="794" y="1098"/>
                  <a:pt x="700" y="1028"/>
                </a:cubicBezTo>
                <a:moveTo>
                  <a:pt x="97" y="2674"/>
                </a:moveTo>
                <a:cubicBezTo>
                  <a:pt x="97" y="2620"/>
                  <a:pt x="54" y="2576"/>
                  <a:pt x="0" y="2576"/>
                </a:cubicBezTo>
                <a:moveTo>
                  <a:pt x="0" y="97"/>
                </a:moveTo>
                <a:cubicBezTo>
                  <a:pt x="54" y="97"/>
                  <a:pt x="97" y="54"/>
                  <a:pt x="97" y="0"/>
                </a:cubicBezTo>
              </a:path>
            </a:pathLst>
          </a:custGeom>
          <a:noFill/>
          <a:ln w="53975" cap="flat">
            <a:solidFill>
              <a:srgbClr val="20AE8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/>
            <a:endParaRPr lang="de-DE" dirty="0"/>
          </a:p>
        </p:txBody>
      </p:sp>
      <p:sp>
        <p:nvSpPr>
          <p:cNvPr id="8" name="Datumsplatzhalter 1">
            <a:extLst>
              <a:ext uri="{FF2B5EF4-FFF2-40B4-BE49-F238E27FC236}">
                <a16:creationId xmlns:a16="http://schemas.microsoft.com/office/drawing/2014/main" id="{EB2AAA78-B027-494E-B908-868DD24EB884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>
          <a:xfrm>
            <a:off x="444843" y="6498236"/>
            <a:ext cx="647831" cy="138499"/>
          </a:xfrm>
        </p:spPr>
        <p:txBody>
          <a:bodyPr/>
          <a:lstStyle/>
          <a:p>
            <a:r>
              <a:rPr lang="de-DE" noProof="0" dirty="0"/>
              <a:t>Februar 2022</a:t>
            </a:r>
          </a:p>
        </p:txBody>
      </p:sp>
      <p:sp>
        <p:nvSpPr>
          <p:cNvPr id="9" name="Fußzeilenplatzhalter 3">
            <a:extLst>
              <a:ext uri="{FF2B5EF4-FFF2-40B4-BE49-F238E27FC236}">
                <a16:creationId xmlns:a16="http://schemas.microsoft.com/office/drawing/2014/main" id="{DC0796FB-C71D-42A5-AE8B-4EBFE7FEE7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99836" y="6498236"/>
            <a:ext cx="9897423" cy="138499"/>
          </a:xfrm>
        </p:spPr>
        <p:txBody>
          <a:bodyPr/>
          <a:lstStyle/>
          <a:p>
            <a:r>
              <a:rPr lang="de-DE" noProof="0" dirty="0"/>
              <a:t>/  Neutraler Assistent</a:t>
            </a:r>
          </a:p>
        </p:txBody>
      </p:sp>
    </p:spTree>
    <p:extLst>
      <p:ext uri="{BB962C8B-B14F-4D97-AF65-F5344CB8AC3E}">
        <p14:creationId xmlns:p14="http://schemas.microsoft.com/office/powerpoint/2010/main" val="249308646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Viel Erfolg bei der Präsentationserstellung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444843" y="4981934"/>
            <a:ext cx="11301057" cy="243656"/>
          </a:xfrm>
        </p:spPr>
        <p:txBody>
          <a:bodyPr/>
          <a:lstStyle/>
          <a:p>
            <a:r>
              <a:rPr lang="de-DE" dirty="0"/>
              <a:t>Vielen Dank für ihre Aufmerksamkeit</a:t>
            </a:r>
          </a:p>
        </p:txBody>
      </p:sp>
    </p:spTree>
    <p:extLst>
      <p:ext uri="{BB962C8B-B14F-4D97-AF65-F5344CB8AC3E}">
        <p14:creationId xmlns:p14="http://schemas.microsoft.com/office/powerpoint/2010/main" val="150206625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FB">
  <a:themeElements>
    <a:clrScheme name="DFB final_2016">
      <a:dk1>
        <a:sysClr val="windowText" lastClr="000000"/>
      </a:dk1>
      <a:lt1>
        <a:sysClr val="window" lastClr="FFFFFF"/>
      </a:lt1>
      <a:dk2>
        <a:srgbClr val="000000"/>
      </a:dk2>
      <a:lt2>
        <a:srgbClr val="878787"/>
      </a:lt2>
      <a:accent1>
        <a:srgbClr val="00965A"/>
      </a:accent1>
      <a:accent2>
        <a:srgbClr val="20AE80"/>
      </a:accent2>
      <a:accent3>
        <a:srgbClr val="878787"/>
      </a:accent3>
      <a:accent4>
        <a:srgbClr val="000000"/>
      </a:accent4>
      <a:accent5>
        <a:srgbClr val="FFCC00"/>
      </a:accent5>
      <a:accent6>
        <a:srgbClr val="E60000"/>
      </a:accent6>
      <a:hlink>
        <a:srgbClr val="0000FF"/>
      </a:hlink>
      <a:folHlink>
        <a:srgbClr val="800080"/>
      </a:folHlink>
    </a:clrScheme>
    <a:fontScheme name="DFB final_2016">
      <a:majorFont>
        <a:latin typeface="DFB Sans Ofc"/>
        <a:ea typeface=""/>
        <a:cs typeface=""/>
      </a:majorFont>
      <a:minorFont>
        <a:latin typeface="DFB Sans Ofc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lIns="72000" tIns="72000" rIns="72000" bIns="72000" rtlCol="0" anchor="t" anchorCtr="0"/>
      <a:lstStyle>
        <a:defPPr marL="180000" indent="-180000" algn="l">
          <a:lnSpc>
            <a:spcPts val="2000"/>
          </a:lnSpc>
          <a:spcBef>
            <a:spcPts val="400"/>
          </a:spcBef>
          <a:buClr>
            <a:schemeClr val="bg1"/>
          </a:buClr>
          <a:buFont typeface="DFB Sans Ofc" panose="020B0503030500020204"/>
          <a:buChar char="›"/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tailEnd type="none" w="med" len="sm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marL="180000" indent="-180000">
          <a:lnSpc>
            <a:spcPts val="2000"/>
          </a:lnSpc>
          <a:spcBef>
            <a:spcPts val="400"/>
          </a:spcBef>
          <a:buClr>
            <a:schemeClr val="accent2"/>
          </a:buClr>
          <a:buFont typeface="DFB Sans Ofc" panose="020B0503030500020204"/>
          <a:buChar char="›"/>
          <a:defRPr sz="1600" dirty="0" err="1" smtClean="0"/>
        </a:defPPr>
      </a:lstStyle>
    </a:txDef>
  </a:objectDefaults>
  <a:extraClrSchemeLst/>
  <a:custClrLst>
    <a:custClr name="DFB-Hellgrün 45%">
      <a:srgbClr val="9BDCC8"/>
    </a:custClr>
    <a:custClr name="DFB-Hellgrau">
      <a:srgbClr val="D2D2D2"/>
    </a:custClr>
    <a:custClr name="DFB-Blau">
      <a:srgbClr val="004187"/>
    </a:custClr>
    <a:custClr name="DFB-Hellblau">
      <a:srgbClr val="A5D2F0"/>
    </a:custClr>
  </a:custClrLst>
  <a:extLst>
    <a:ext uri="{05A4C25C-085E-4340-85A3-A5531E510DB2}">
      <thm15:themeFamily xmlns:thm15="http://schemas.microsoft.com/office/thememl/2012/main" name="DFB_template_scr03.potx" id="{A35E7F0C-3BE2-46ED-97D5-865806964E3C}" vid="{FD0FDBD7-2994-40BE-863F-DBF2795AEC1B}"/>
    </a:ext>
  </a:extLst>
</a:theme>
</file>

<file path=ppt/theme/theme2.xml><?xml version="1.0" encoding="utf-8"?>
<a:theme xmlns:a="http://schemas.openxmlformats.org/drawingml/2006/main" name="Office">
  <a:themeElements>
    <a:clrScheme name="DFB final_2016">
      <a:dk1>
        <a:sysClr val="windowText" lastClr="000000"/>
      </a:dk1>
      <a:lt1>
        <a:sysClr val="window" lastClr="FFFFFF"/>
      </a:lt1>
      <a:dk2>
        <a:srgbClr val="000000"/>
      </a:dk2>
      <a:lt2>
        <a:srgbClr val="878787"/>
      </a:lt2>
      <a:accent1>
        <a:srgbClr val="00965A"/>
      </a:accent1>
      <a:accent2>
        <a:srgbClr val="20AE80"/>
      </a:accent2>
      <a:accent3>
        <a:srgbClr val="878787"/>
      </a:accent3>
      <a:accent4>
        <a:srgbClr val="000000"/>
      </a:accent4>
      <a:accent5>
        <a:srgbClr val="FFCC00"/>
      </a:accent5>
      <a:accent6>
        <a:srgbClr val="E60000"/>
      </a:accent6>
      <a:hlink>
        <a:srgbClr val="0000FF"/>
      </a:hlink>
      <a:folHlink>
        <a:srgbClr val="800080"/>
      </a:folHlink>
    </a:clrScheme>
    <a:fontScheme name="DFB final_2016">
      <a:majorFont>
        <a:latin typeface="DFB Sans Ofc"/>
        <a:ea typeface=""/>
        <a:cs typeface=""/>
      </a:majorFont>
      <a:minorFont>
        <a:latin typeface="DFB Sans Of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DFB final_2016">
      <a:dk1>
        <a:sysClr val="windowText" lastClr="000000"/>
      </a:dk1>
      <a:lt1>
        <a:sysClr val="window" lastClr="FFFFFF"/>
      </a:lt1>
      <a:dk2>
        <a:srgbClr val="000000"/>
      </a:dk2>
      <a:lt2>
        <a:srgbClr val="878787"/>
      </a:lt2>
      <a:accent1>
        <a:srgbClr val="00965A"/>
      </a:accent1>
      <a:accent2>
        <a:srgbClr val="20AE80"/>
      </a:accent2>
      <a:accent3>
        <a:srgbClr val="878787"/>
      </a:accent3>
      <a:accent4>
        <a:srgbClr val="000000"/>
      </a:accent4>
      <a:accent5>
        <a:srgbClr val="FFCC00"/>
      </a:accent5>
      <a:accent6>
        <a:srgbClr val="E60000"/>
      </a:accent6>
      <a:hlink>
        <a:srgbClr val="0000FF"/>
      </a:hlink>
      <a:folHlink>
        <a:srgbClr val="800080"/>
      </a:folHlink>
    </a:clrScheme>
    <a:fontScheme name="DFB 2016">
      <a:majorFont>
        <a:latin typeface="DFB Sans Ofc"/>
        <a:ea typeface=""/>
        <a:cs typeface=""/>
      </a:majorFont>
      <a:minorFont>
        <a:latin typeface="DFB Sans Of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F6DAF0F83ECFF84586EDD912482DB8BB" ma:contentTypeVersion="13" ma:contentTypeDescription="Ein neues Dokument erstellen." ma:contentTypeScope="" ma:versionID="ddb829a90b37846afea29b33547934b4">
  <xsd:schema xmlns:xsd="http://www.w3.org/2001/XMLSchema" xmlns:xs="http://www.w3.org/2001/XMLSchema" xmlns:p="http://schemas.microsoft.com/office/2006/metadata/properties" xmlns:ns2="fb28b976-10c3-47be-b44a-1dea75d976f5" xmlns:ns3="46e66027-a1f2-492b-9bfc-934c17d06911" targetNamespace="http://schemas.microsoft.com/office/2006/metadata/properties" ma:root="true" ma:fieldsID="dedcf27b156f381f6edee948c508bb75" ns2:_="" ns3:_="">
    <xsd:import namespace="fb28b976-10c3-47be-b44a-1dea75d976f5"/>
    <xsd:import namespace="46e66027-a1f2-492b-9bfc-934c17d0691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Location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b28b976-10c3-47be-b44a-1dea75d976f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6e66027-a1f2-492b-9bfc-934c17d06911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AD313029-4DEA-446A-BF12-3D01EBECF98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CD5DB8C-26F0-485B-B49B-746875B6231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b28b976-10c3-47be-b44a-1dea75d976f5"/>
    <ds:schemaRef ds:uri="46e66027-a1f2-492b-9bfc-934c17d0691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A3E13E61-864C-4D7D-BE56-8369AA555CE0}">
  <ds:schemaRefs>
    <ds:schemaRef ds:uri="http://schemas.microsoft.com/office/2006/documentManagement/types"/>
    <ds:schemaRef ds:uri="http://purl.org/dc/terms/"/>
    <ds:schemaRef ds:uri="http://purl.org/dc/dcmitype/"/>
    <ds:schemaRef ds:uri="http://www.w3.org/XML/1998/namespace"/>
    <ds:schemaRef ds:uri="http://purl.org/dc/elements/1.1/"/>
    <ds:schemaRef ds:uri="http://schemas.openxmlformats.org/package/2006/metadata/core-properties"/>
    <ds:schemaRef ds:uri="http://schemas.microsoft.com/office/infopath/2007/PartnerControls"/>
    <ds:schemaRef ds:uri="46e66027-a1f2-492b-9bfc-934c17d06911"/>
    <ds:schemaRef ds:uri="fb28b976-10c3-47be-b44a-1dea75d976f5"/>
    <ds:schemaRef ds:uri="http://schemas.microsoft.com/office/2006/metadata/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23</Words>
  <Application>Microsoft Office PowerPoint</Application>
  <PresentationFormat>Breitbild</PresentationFormat>
  <Paragraphs>48</Paragraphs>
  <Slides>6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6</vt:i4>
      </vt:variant>
    </vt:vector>
  </HeadingPairs>
  <TitlesOfParts>
    <vt:vector size="11" baseType="lpstr">
      <vt:lpstr>Arial</vt:lpstr>
      <vt:lpstr>DFB Sans Ofc</vt:lpstr>
      <vt:lpstr>Symbol</vt:lpstr>
      <vt:lpstr>DFB</vt:lpstr>
      <vt:lpstr>think-cell Folie</vt:lpstr>
      <vt:lpstr>Zusammenarbeit im SR-Team</vt:lpstr>
      <vt:lpstr>PowerPoint-Präsentation</vt:lpstr>
      <vt:lpstr>neutraler Assistent</vt:lpstr>
      <vt:lpstr>neutraler Assistent</vt:lpstr>
      <vt:lpstr>sPIELFELD</vt:lpstr>
      <vt:lpstr>Viel Erfolg bei der Präsentationserstellung</vt:lpstr>
    </vt:vector>
  </TitlesOfParts>
  <Manager>Vorname Nachname</Manager>
  <Company>DFB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usterfolien / Styleguide für präsentationen</dc:title>
  <dc:subject>PowerPoint Vorlage</dc:subject>
  <dc:creator>Vorname Nachname</dc:creator>
  <dc:description>Für die PowerPoint Version 2013 optimiert Vorlage.</dc:description>
  <cp:lastModifiedBy>Andreas Schröter</cp:lastModifiedBy>
  <cp:revision>367</cp:revision>
  <cp:lastPrinted>2016-12-20T13:58:34Z</cp:lastPrinted>
  <dcterms:created xsi:type="dcterms:W3CDTF">2016-11-28T08:25:22Z</dcterms:created>
  <dcterms:modified xsi:type="dcterms:W3CDTF">2022-01-08T10:46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6DAF0F83ECFF84586EDD912482DB8BB</vt:lpwstr>
  </property>
  <property fmtid="{D5CDD505-2E9C-101B-9397-08002B2CF9AE}" pid="3" name="Order">
    <vt:r8>5177200</vt:r8>
  </property>
</Properties>
</file>